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5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7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9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0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1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2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3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14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5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6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17.xml" ContentType="application/vnd.openxmlformats-officedocument.theme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8.xml" ContentType="application/vnd.openxmlformats-officedocument.theme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19.xml" ContentType="application/vnd.openxmlformats-officedocument.theme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20.xml" ContentType="application/vnd.openxmlformats-officedocument.theme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21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22.xml" ContentType="application/vnd.openxmlformats-officedocument.theme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23.xml" ContentType="application/vnd.openxmlformats-officedocument.theme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24.xml" ContentType="application/vnd.openxmlformats-officedocument.theme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25.xml" ContentType="application/vnd.openxmlformats-officedocument.theme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26.xml" ContentType="application/vnd.openxmlformats-officedocument.theme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theme/theme27.xml" ContentType="application/vnd.openxmlformats-officedocument.theme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theme/theme28.xml" ContentType="application/vnd.openxmlformats-officedocument.theme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29.xml" ContentType="application/vnd.openxmlformats-officedocument.theme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theme/theme30.xml" ContentType="application/vnd.openxmlformats-officedocument.theme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theme/theme31.xml" ContentType="application/vnd.openxmlformats-officedocument.theme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32.xml" ContentType="application/vnd.openxmlformats-officedocument.theme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theme/theme33.xml" ContentType="application/vnd.openxmlformats-officedocument.theme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34.xml" ContentType="application/vnd.openxmlformats-officedocument.theme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theme/theme35.xml" ContentType="application/vnd.openxmlformats-officedocument.theme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theme/theme36.xml" ContentType="application/vnd.openxmlformats-officedocument.theme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theme/theme37.xml" ContentType="application/vnd.openxmlformats-officedocument.theme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theme/theme38.xml" ContentType="application/vnd.openxmlformats-officedocument.theme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theme/theme39.xml" ContentType="application/vnd.openxmlformats-officedocument.theme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theme/theme40.xml" ContentType="application/vnd.openxmlformats-officedocument.theme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theme/theme41.xml" ContentType="application/vnd.openxmlformats-officedocument.theme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theme/theme42.xml" ContentType="application/vnd.openxmlformats-officedocument.theme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theme/theme43.xml" ContentType="application/vnd.openxmlformats-officedocument.theme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theme/theme44.xml" ContentType="application/vnd.openxmlformats-officedocument.theme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theme/theme45.xml" ContentType="application/vnd.openxmlformats-officedocument.theme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theme/theme46.xml" ContentType="application/vnd.openxmlformats-officedocument.theme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theme/theme47.xml" ContentType="application/vnd.openxmlformats-officedocument.theme+xml"/>
  <Override PartName="/ppt/theme/theme48.xml" ContentType="application/vnd.openxmlformats-officedocument.theme+xml"/>
  <Override PartName="/ppt/theme/theme49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71" r:id="rId1"/>
    <p:sldMasterId id="2147484401" r:id="rId2"/>
    <p:sldMasterId id="2147484413" r:id="rId3"/>
    <p:sldMasterId id="2147484451" r:id="rId4"/>
    <p:sldMasterId id="2147484486" r:id="rId5"/>
    <p:sldMasterId id="2147484513" r:id="rId6"/>
    <p:sldMasterId id="2147484521" r:id="rId7"/>
    <p:sldMasterId id="2147484610" r:id="rId8"/>
    <p:sldMasterId id="2147484618" r:id="rId9"/>
    <p:sldMasterId id="2147484638" r:id="rId10"/>
    <p:sldMasterId id="2147484664" r:id="rId11"/>
    <p:sldMasterId id="2147484789" r:id="rId12"/>
    <p:sldMasterId id="2147484828" r:id="rId13"/>
    <p:sldMasterId id="2147484835" r:id="rId14"/>
    <p:sldMasterId id="2147484856" r:id="rId15"/>
    <p:sldMasterId id="2147484933" r:id="rId16"/>
    <p:sldMasterId id="2147484956" r:id="rId17"/>
    <p:sldMasterId id="2147484983" r:id="rId18"/>
    <p:sldMasterId id="2147484991" r:id="rId19"/>
    <p:sldMasterId id="2147485000" r:id="rId20"/>
    <p:sldMasterId id="2147485022" r:id="rId21"/>
    <p:sldMasterId id="2147485133" r:id="rId22"/>
    <p:sldMasterId id="2147485153" r:id="rId23"/>
    <p:sldMasterId id="2147485178" r:id="rId24"/>
    <p:sldMasterId id="2147485219" r:id="rId25"/>
    <p:sldMasterId id="2147485230" r:id="rId26"/>
    <p:sldMasterId id="2147485238" r:id="rId27"/>
    <p:sldMasterId id="2147485274" r:id="rId28"/>
    <p:sldMasterId id="2147485286" r:id="rId29"/>
    <p:sldMasterId id="2147485327" r:id="rId30"/>
    <p:sldMasterId id="2147485348" r:id="rId31"/>
    <p:sldMasterId id="2147485381" r:id="rId32"/>
    <p:sldMasterId id="2147485390" r:id="rId33"/>
    <p:sldMasterId id="2147485402" r:id="rId34"/>
    <p:sldMasterId id="2147485430" r:id="rId35"/>
    <p:sldMasterId id="2147485486" r:id="rId36"/>
    <p:sldMasterId id="2147485508" r:id="rId37"/>
    <p:sldMasterId id="2147485517" r:id="rId38"/>
    <p:sldMasterId id="2147486093" r:id="rId39"/>
    <p:sldMasterId id="2147486100" r:id="rId40"/>
    <p:sldMasterId id="2147486108" r:id="rId41"/>
    <p:sldMasterId id="2147486113" r:id="rId42"/>
    <p:sldMasterId id="2147486131" r:id="rId43"/>
    <p:sldMasterId id="2147486138" r:id="rId44"/>
    <p:sldMasterId id="2147486150" r:id="rId45"/>
    <p:sldMasterId id="2147486162" r:id="rId46"/>
    <p:sldMasterId id="2147486181" r:id="rId47"/>
  </p:sldMasterIdLst>
  <p:notesMasterIdLst>
    <p:notesMasterId r:id="rId61"/>
  </p:notesMasterIdLst>
  <p:handoutMasterIdLst>
    <p:handoutMasterId r:id="rId62"/>
  </p:handoutMasterIdLst>
  <p:sldIdLst>
    <p:sldId id="1303" r:id="rId48"/>
    <p:sldId id="1315" r:id="rId49"/>
    <p:sldId id="1339" r:id="rId50"/>
    <p:sldId id="1332" r:id="rId51"/>
    <p:sldId id="1333" r:id="rId52"/>
    <p:sldId id="1334" r:id="rId53"/>
    <p:sldId id="1335" r:id="rId54"/>
    <p:sldId id="1338" r:id="rId55"/>
    <p:sldId id="1336" r:id="rId56"/>
    <p:sldId id="1316" r:id="rId57"/>
    <p:sldId id="1328" r:id="rId58"/>
    <p:sldId id="1340" r:id="rId59"/>
    <p:sldId id="1337" r:id="rId60"/>
  </p:sldIdLst>
  <p:sldSz cx="9144000" cy="6858000" type="letter"/>
  <p:notesSz cx="7010400" cy="9296400"/>
  <p:defaultTextStyle>
    <a:defPPr>
      <a:defRPr lang="en-US"/>
    </a:defPPr>
    <a:lvl1pPr algn="ctr" rtl="0" eaLnBrk="0" fontAlgn="base" hangingPunct="0">
      <a:lnSpc>
        <a:spcPct val="85000"/>
      </a:lnSpc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 Narrow" pitchFamily="34" charset="0"/>
        <a:ea typeface="+mn-ea"/>
        <a:cs typeface="+mn-cs"/>
      </a:defRPr>
    </a:lvl1pPr>
    <a:lvl2pPr marL="457200" algn="ctr" rtl="0" eaLnBrk="0" fontAlgn="base" hangingPunct="0">
      <a:lnSpc>
        <a:spcPct val="85000"/>
      </a:lnSpc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 Narrow" pitchFamily="34" charset="0"/>
        <a:ea typeface="+mn-ea"/>
        <a:cs typeface="+mn-cs"/>
      </a:defRPr>
    </a:lvl2pPr>
    <a:lvl3pPr marL="914400" algn="ctr" rtl="0" eaLnBrk="0" fontAlgn="base" hangingPunct="0">
      <a:lnSpc>
        <a:spcPct val="85000"/>
      </a:lnSpc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 Narrow" pitchFamily="34" charset="0"/>
        <a:ea typeface="+mn-ea"/>
        <a:cs typeface="+mn-cs"/>
      </a:defRPr>
    </a:lvl3pPr>
    <a:lvl4pPr marL="1371600" algn="ctr" rtl="0" eaLnBrk="0" fontAlgn="base" hangingPunct="0">
      <a:lnSpc>
        <a:spcPct val="85000"/>
      </a:lnSpc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 Narrow" pitchFamily="34" charset="0"/>
        <a:ea typeface="+mn-ea"/>
        <a:cs typeface="+mn-cs"/>
      </a:defRPr>
    </a:lvl4pPr>
    <a:lvl5pPr marL="1828800" algn="ctr" rtl="0" eaLnBrk="0" fontAlgn="base" hangingPunct="0">
      <a:lnSpc>
        <a:spcPct val="85000"/>
      </a:lnSpc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 Narrow" pitchFamily="34" charset="0"/>
        <a:ea typeface="+mn-ea"/>
        <a:cs typeface="+mn-cs"/>
      </a:defRPr>
    </a:lvl5pPr>
    <a:lvl6pPr marL="2286000" algn="l" defTabSz="914400" rtl="0" eaLnBrk="1" latinLnBrk="0" hangingPunct="1">
      <a:defRPr sz="2400" b="1" kern="1200">
        <a:solidFill>
          <a:schemeClr val="tx1"/>
        </a:solidFill>
        <a:latin typeface="Arial Narrow" pitchFamily="34" charset="0"/>
        <a:ea typeface="+mn-ea"/>
        <a:cs typeface="+mn-cs"/>
      </a:defRPr>
    </a:lvl6pPr>
    <a:lvl7pPr marL="2743200" algn="l" defTabSz="914400" rtl="0" eaLnBrk="1" latinLnBrk="0" hangingPunct="1">
      <a:defRPr sz="2400" b="1" kern="1200">
        <a:solidFill>
          <a:schemeClr val="tx1"/>
        </a:solidFill>
        <a:latin typeface="Arial Narrow" pitchFamily="34" charset="0"/>
        <a:ea typeface="+mn-ea"/>
        <a:cs typeface="+mn-cs"/>
      </a:defRPr>
    </a:lvl7pPr>
    <a:lvl8pPr marL="3200400" algn="l" defTabSz="914400" rtl="0" eaLnBrk="1" latinLnBrk="0" hangingPunct="1">
      <a:defRPr sz="2400" b="1" kern="1200">
        <a:solidFill>
          <a:schemeClr val="tx1"/>
        </a:solidFill>
        <a:latin typeface="Arial Narrow" pitchFamily="34" charset="0"/>
        <a:ea typeface="+mn-ea"/>
        <a:cs typeface="+mn-cs"/>
      </a:defRPr>
    </a:lvl8pPr>
    <a:lvl9pPr marL="3657600" algn="l" defTabSz="914400" rtl="0" eaLnBrk="1" latinLnBrk="0" hangingPunct="1">
      <a:defRPr sz="2400" b="1" kern="1200">
        <a:solidFill>
          <a:schemeClr val="tx1"/>
        </a:solidFill>
        <a:latin typeface="Arial Narrow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61">
          <p15:clr>
            <a:srgbClr val="A4A3A4"/>
          </p15:clr>
        </p15:guide>
        <p15:guide id="2" pos="287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9">
          <p15:clr>
            <a:srgbClr val="A4A3A4"/>
          </p15:clr>
        </p15:guide>
        <p15:guide id="2" pos="220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99"/>
    <a:srgbClr val="99FF99"/>
    <a:srgbClr val="00FF00"/>
    <a:srgbClr val="FFFF99"/>
    <a:srgbClr val="FFCCCC"/>
    <a:srgbClr val="0033CC"/>
    <a:srgbClr val="6600FF"/>
    <a:srgbClr val="9933FF"/>
    <a:srgbClr val="CC9900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61" autoAdjust="0"/>
    <p:restoredTop sz="96433" autoAdjust="0"/>
  </p:normalViewPr>
  <p:slideViewPr>
    <p:cSldViewPr snapToGrid="0" showGuides="1">
      <p:cViewPr varScale="1">
        <p:scale>
          <a:sx n="111" d="100"/>
          <a:sy n="111" d="100"/>
        </p:scale>
        <p:origin x="1632" y="90"/>
      </p:cViewPr>
      <p:guideLst>
        <p:guide orient="horz" pos="461"/>
        <p:guide pos="287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3558"/>
    </p:cViewPr>
  </p:sorterViewPr>
  <p:notesViewPr>
    <p:cSldViewPr snapToGrid="0" showGuides="1">
      <p:cViewPr varScale="1">
        <p:scale>
          <a:sx n="82" d="100"/>
          <a:sy n="82" d="100"/>
        </p:scale>
        <p:origin x="-3090" y="-102"/>
      </p:cViewPr>
      <p:guideLst>
        <p:guide orient="horz" pos="2929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Master" Target="slideMasters/slideMaster39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Master" Target="slideMasters/slideMaster42.xml"/><Relationship Id="rId47" Type="http://schemas.openxmlformats.org/officeDocument/2006/relationships/slideMaster" Target="slideMasters/slideMaster47.xml"/><Relationship Id="rId50" Type="http://schemas.openxmlformats.org/officeDocument/2006/relationships/slide" Target="slides/slide3.xml"/><Relationship Id="rId55" Type="http://schemas.openxmlformats.org/officeDocument/2006/relationships/slide" Target="slides/slide8.xml"/><Relationship Id="rId63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slideMaster" Target="slideMasters/slideMaster41.xml"/><Relationship Id="rId54" Type="http://schemas.openxmlformats.org/officeDocument/2006/relationships/slide" Target="slides/slide7.xml"/><Relationship Id="rId62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Master" Target="slideMasters/slideMaster40.xml"/><Relationship Id="rId45" Type="http://schemas.openxmlformats.org/officeDocument/2006/relationships/slideMaster" Target="slideMasters/slideMaster45.xml"/><Relationship Id="rId53" Type="http://schemas.openxmlformats.org/officeDocument/2006/relationships/slide" Target="slides/slide6.xml"/><Relationship Id="rId58" Type="http://schemas.openxmlformats.org/officeDocument/2006/relationships/slide" Target="slides/slide11.xml"/><Relationship Id="rId66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" Target="slides/slide2.xml"/><Relationship Id="rId57" Type="http://schemas.openxmlformats.org/officeDocument/2006/relationships/slide" Target="slides/slide10.xml"/><Relationship Id="rId61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" Target="slides/slide5.xml"/><Relationship Id="rId60" Type="http://schemas.openxmlformats.org/officeDocument/2006/relationships/slide" Target="slides/slide13.xml"/><Relationship Id="rId65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" Target="slides/slide1.xml"/><Relationship Id="rId56" Type="http://schemas.openxmlformats.org/officeDocument/2006/relationships/slide" Target="slides/slide9.xml"/><Relationship Id="rId64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Master" Target="slideMasters/slideMaster46.xml"/><Relationship Id="rId59" Type="http://schemas.openxmlformats.org/officeDocument/2006/relationships/slide" Target="slides/slide1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6887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93" tIns="45446" rIns="90893" bIns="45446" numCol="1" anchor="t" anchorCtr="0" compatLnSpc="1">
            <a:prstTxWarp prst="textNoShape">
              <a:avLst/>
            </a:prstTxWarp>
          </a:bodyPr>
          <a:lstStyle>
            <a:lvl1pPr algn="l" defTabSz="908111">
              <a:lnSpc>
                <a:spcPct val="100000"/>
              </a:lnSpc>
              <a:defRPr sz="1200" b="0">
                <a:latin typeface="Times" pitchFamily="18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430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3514" y="0"/>
            <a:ext cx="3036886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93" tIns="45446" rIns="90893" bIns="45446" numCol="1" anchor="t" anchorCtr="0" compatLnSpc="1">
            <a:prstTxWarp prst="textNoShape">
              <a:avLst/>
            </a:prstTxWarp>
          </a:bodyPr>
          <a:lstStyle>
            <a:lvl1pPr algn="r" defTabSz="908111">
              <a:lnSpc>
                <a:spcPct val="100000"/>
              </a:lnSpc>
              <a:defRPr sz="1200" b="0">
                <a:latin typeface="Times" pitchFamily="18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430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2850"/>
            <a:ext cx="3036887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93" tIns="45446" rIns="90893" bIns="45446" numCol="1" anchor="b" anchorCtr="0" compatLnSpc="1">
            <a:prstTxWarp prst="textNoShape">
              <a:avLst/>
            </a:prstTxWarp>
          </a:bodyPr>
          <a:lstStyle>
            <a:lvl1pPr algn="l" defTabSz="908111">
              <a:lnSpc>
                <a:spcPct val="100000"/>
              </a:lnSpc>
              <a:defRPr sz="1200" b="0">
                <a:latin typeface="Times" pitchFamily="18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430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3514" y="8832850"/>
            <a:ext cx="3036886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93" tIns="45446" rIns="90893" bIns="45446" numCol="1" anchor="b" anchorCtr="0" compatLnSpc="1">
            <a:prstTxWarp prst="textNoShape">
              <a:avLst/>
            </a:prstTxWarp>
          </a:bodyPr>
          <a:lstStyle>
            <a:lvl1pPr algn="r" defTabSz="908111">
              <a:lnSpc>
                <a:spcPct val="100000"/>
              </a:lnSpc>
              <a:defRPr sz="1200" b="0">
                <a:latin typeface="Times" pitchFamily="18" charset="0"/>
              </a:defRPr>
            </a:lvl1pPr>
          </a:lstStyle>
          <a:p>
            <a:pPr>
              <a:defRPr/>
            </a:pPr>
            <a:fld id="{56C57021-2208-4183-AF65-EB4AC1B0354D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467967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6887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93" tIns="45446" rIns="90893" bIns="45446" numCol="1" anchor="t" anchorCtr="0" compatLnSpc="1">
            <a:prstTxWarp prst="textNoShape">
              <a:avLst/>
            </a:prstTxWarp>
          </a:bodyPr>
          <a:lstStyle>
            <a:lvl1pPr algn="l" defTabSz="908111">
              <a:lnSpc>
                <a:spcPct val="100000"/>
              </a:lnSpc>
              <a:defRPr sz="1200" b="0">
                <a:latin typeface="Times" pitchFamily="18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4403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3514" y="0"/>
            <a:ext cx="3036886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93" tIns="45446" rIns="90893" bIns="45446" numCol="1" anchor="t" anchorCtr="0" compatLnSpc="1">
            <a:prstTxWarp prst="textNoShape">
              <a:avLst/>
            </a:prstTxWarp>
          </a:bodyPr>
          <a:lstStyle>
            <a:lvl1pPr algn="r" defTabSz="908111">
              <a:lnSpc>
                <a:spcPct val="100000"/>
              </a:lnSpc>
              <a:defRPr sz="1200" b="0">
                <a:latin typeface="Times" pitchFamily="18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286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69988" y="684213"/>
            <a:ext cx="4673600" cy="35052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5040" y="4418013"/>
            <a:ext cx="5140325" cy="4189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93" tIns="45446" rIns="90893" bIns="454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noProof="0" smtClean="0"/>
              <a:t>Click to edit Master text styles</a:t>
            </a:r>
          </a:p>
          <a:p>
            <a:pPr lvl="1"/>
            <a:r>
              <a:rPr lang="en-US" altLang="en-US" noProof="0" smtClean="0"/>
              <a:t>Second level</a:t>
            </a:r>
          </a:p>
          <a:p>
            <a:pPr lvl="2"/>
            <a:r>
              <a:rPr lang="en-US" altLang="en-US" noProof="0" smtClean="0"/>
              <a:t>Third level</a:t>
            </a:r>
          </a:p>
          <a:p>
            <a:pPr lvl="3"/>
            <a:r>
              <a:rPr lang="en-US" altLang="en-US" noProof="0" smtClean="0"/>
              <a:t>Fourth level</a:t>
            </a:r>
          </a:p>
          <a:p>
            <a:pPr lvl="4"/>
            <a:r>
              <a:rPr lang="en-US" altLang="en-US" noProof="0" smtClean="0"/>
              <a:t>Fifth level</a:t>
            </a:r>
          </a:p>
        </p:txBody>
      </p:sp>
      <p:sp>
        <p:nvSpPr>
          <p:cNvPr id="4403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9201"/>
            <a:ext cx="3036887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93" tIns="45446" rIns="90893" bIns="45446" numCol="1" anchor="b" anchorCtr="0" compatLnSpc="1">
            <a:prstTxWarp prst="textNoShape">
              <a:avLst/>
            </a:prstTxWarp>
          </a:bodyPr>
          <a:lstStyle>
            <a:lvl1pPr algn="l" defTabSz="908111">
              <a:lnSpc>
                <a:spcPct val="100000"/>
              </a:lnSpc>
              <a:defRPr sz="1200" b="0">
                <a:latin typeface="Times" pitchFamily="18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4403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3514" y="8839201"/>
            <a:ext cx="3036886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93" tIns="45446" rIns="90893" bIns="45446" numCol="1" anchor="b" anchorCtr="0" compatLnSpc="1">
            <a:prstTxWarp prst="textNoShape">
              <a:avLst/>
            </a:prstTxWarp>
          </a:bodyPr>
          <a:lstStyle>
            <a:lvl1pPr algn="r" defTabSz="908111">
              <a:lnSpc>
                <a:spcPct val="100000"/>
              </a:lnSpc>
              <a:defRPr sz="1200" b="0">
                <a:latin typeface="Times" pitchFamily="18" charset="0"/>
              </a:defRPr>
            </a:lvl1pPr>
          </a:lstStyle>
          <a:p>
            <a:pPr>
              <a:defRPr/>
            </a:pPr>
            <a:fld id="{92EC6F59-1632-4CBD-A046-D46B533A803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352179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85000"/>
      </a:lnSpc>
      <a:spcBef>
        <a:spcPct val="0"/>
      </a:spcBef>
      <a:spcAft>
        <a:spcPct val="5000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lnSpc>
        <a:spcPct val="85000"/>
      </a:lnSpc>
      <a:spcBef>
        <a:spcPct val="0"/>
      </a:spcBef>
      <a:spcAft>
        <a:spcPct val="5000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lnSpc>
        <a:spcPct val="85000"/>
      </a:lnSpc>
      <a:spcBef>
        <a:spcPct val="0"/>
      </a:spcBef>
      <a:spcAft>
        <a:spcPct val="5000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lnSpc>
        <a:spcPct val="85000"/>
      </a:lnSpc>
      <a:spcBef>
        <a:spcPct val="0"/>
      </a:spcBef>
      <a:spcAft>
        <a:spcPct val="5000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lnSpc>
        <a:spcPct val="85000"/>
      </a:lnSpc>
      <a:spcBef>
        <a:spcPct val="0"/>
      </a:spcBef>
      <a:spcAft>
        <a:spcPct val="5000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EC6F59-1632-4CBD-A046-D46B533A8036}" type="slidenum">
              <a:rPr lang="en-US" altLang="en-US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01986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811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A8C4B6E-0DF7-41AE-A2F9-2EFF7718365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pitchFamily="18" charset="0"/>
                <a:ea typeface="+mn-ea"/>
                <a:cs typeface="+mn-cs"/>
              </a:rPr>
              <a:pPr marL="0" marR="0" lvl="0" indent="0" algn="r" defTabSz="90811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18523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/>
              <a:t>Notes</a:t>
            </a:r>
            <a:r>
              <a:rPr lang="en-US" sz="1000" baseline="0" dirty="0" smtClean="0"/>
              <a:t> to Presenter - </a:t>
            </a:r>
            <a:r>
              <a:rPr lang="en-US" sz="1000" dirty="0" smtClean="0"/>
              <a:t>Key point: the 13 guidebooks/handbooks/manual</a:t>
            </a:r>
            <a:r>
              <a:rPr lang="en-US" sz="1000" baseline="0" dirty="0" smtClean="0"/>
              <a:t> are tightly aligned and mutually reinforcing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811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2EC6F59-1632-4CBD-A046-D46B533A803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 pitchFamily="18" charset="0"/>
                <a:ea typeface="+mn-ea"/>
                <a:cs typeface="+mn-cs"/>
              </a:rPr>
              <a:pPr marL="0" marR="0" lvl="0" indent="0" algn="r" defTabSz="90811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3916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9D182-E069-4D62-8514-A3727CDB1311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5715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EC6F59-1632-4CBD-A046-D46B533A8036}" type="slidenum">
              <a:rPr lang="en-US" altLang="en-US" smtClean="0"/>
              <a:pPr>
                <a:defRPr/>
              </a:pPr>
              <a:t>1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3282230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4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4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0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3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3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6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1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1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1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1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1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1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4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6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8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9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9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9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9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1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1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1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2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2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3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3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3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3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3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6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6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7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86" y="0"/>
            <a:ext cx="9145186" cy="1230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0843FF9-AEB8-4525-AA4F-6F92E338F3F5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D38FD2-C195-47F2-A019-BB07EA1940C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6ABEA5-4B6E-4C56-8794-6DAA0ADE21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622572-8D75-492F-B1CB-740B9D8CFF4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073900" y="6632575"/>
            <a:ext cx="2133600" cy="2730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FCE4A8-FA13-4B3F-9F5D-66FB42529A6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7DC162-CECA-4B77-93EC-070F1924D1F1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71A074-AB45-4A77-98C2-24D514EAE1C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med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3459163" y="1841500"/>
            <a:ext cx="2225675" cy="222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8713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046922"/>
            <a:ext cx="7772400" cy="675860"/>
          </a:xfrm>
          <a:prstGeom prst="rect">
            <a:avLst/>
          </a:prstGeom>
        </p:spPr>
        <p:txBody>
          <a:bodyPr anchor="ctr"/>
          <a:lstStyle>
            <a:lvl1pPr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8713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271749"/>
            <a:ext cx="6400800" cy="1559206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200" b="1"/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6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227" y="1245704"/>
            <a:ext cx="7911547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8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/>
            </a:lvl2pPr>
            <a:lvl3pPr marL="466725" indent="-241300">
              <a:buFont typeface="Wingdings" pitchFamily="2" charset="2"/>
              <a:buChar char="§"/>
              <a:defRPr/>
            </a:lvl3pPr>
            <a:lvl4pPr marL="685800" indent="-228600">
              <a:buFont typeface="Arial" pitchFamily="34" charset="0"/>
              <a:buChar char="•"/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347E8B1E-E6C1-4B14-A732-16B2871BFE0C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D9BDCB59-3755-4A3F-8F14-125F2E2838B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6111" y="1235266"/>
            <a:ext cx="3915202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6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 sz="1400"/>
            </a:lvl2pPr>
            <a:lvl3pPr marL="463550" indent="-231775">
              <a:buFont typeface="Wingdings" pitchFamily="2" charset="2"/>
              <a:buChar char="§"/>
              <a:defRPr sz="1200"/>
            </a:lvl3pPr>
            <a:lvl4pPr marL="688975" indent="-234950"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3"/>
          </p:nvPr>
        </p:nvSpPr>
        <p:spPr>
          <a:xfrm>
            <a:off x="4624757" y="1235266"/>
            <a:ext cx="3915202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6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 sz="1400"/>
            </a:lvl2pPr>
            <a:lvl3pPr marL="463550" indent="-231775">
              <a:buFont typeface="Wingdings" pitchFamily="2" charset="2"/>
              <a:buChar char="§"/>
              <a:defRPr sz="1200"/>
            </a:lvl3pPr>
            <a:lvl4pPr marL="688975" indent="-234950"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4"/>
          </p:nvPr>
        </p:nvSpPr>
        <p:spPr/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477A415-0964-4B08-93AF-4AC745F7C82A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513B6E1E-7A03-444D-BCEB-40FB64A7A45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E653049-0051-49FE-B14E-FB7890D6A207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5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61662834-471F-4755-9C07-0451905A5810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7BDD925F-8D9D-414C-9AE2-7178E6A5F0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5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19150" y="2930155"/>
            <a:ext cx="7505700" cy="792162"/>
          </a:xfrm>
          <a:prstGeom prst="rect">
            <a:avLst/>
          </a:prstGeom>
        </p:spPr>
        <p:txBody>
          <a:bodyPr anchor="ctr"/>
          <a:lstStyle>
            <a:lvl1pPr algn="ctr"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C078CF4D-693A-4478-A4F1-82FE372A8E00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671C1C66-0127-415A-BC7B-0602C77CF61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36DF93-3C01-425B-BF91-A68CF1ED0781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ED9110-2D4D-4B1C-9EDC-AC75BA3308D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3459163" y="1841500"/>
            <a:ext cx="2225675" cy="222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8713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046922"/>
            <a:ext cx="7772400" cy="675860"/>
          </a:xfrm>
          <a:prstGeom prst="rect">
            <a:avLst/>
          </a:prstGeom>
        </p:spPr>
        <p:txBody>
          <a:bodyPr anchor="ctr"/>
          <a:lstStyle>
            <a:lvl1pPr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8713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271749"/>
            <a:ext cx="6400800" cy="1559206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200" b="1"/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6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227" y="1245704"/>
            <a:ext cx="7911547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8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/>
            </a:lvl2pPr>
            <a:lvl3pPr marL="466725" indent="-241300">
              <a:buFont typeface="Wingdings" pitchFamily="2" charset="2"/>
              <a:buChar char="§"/>
              <a:defRPr/>
            </a:lvl3pPr>
            <a:lvl4pPr marL="685800" indent="-228600">
              <a:buFont typeface="Arial" pitchFamily="34" charset="0"/>
              <a:buChar char="•"/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F79D0DE6-D346-44BB-A3F2-EC5734AD3013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D9BDCB59-3755-4A3F-8F14-125F2E2838B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6111" y="1235266"/>
            <a:ext cx="3915202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6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 sz="1400"/>
            </a:lvl2pPr>
            <a:lvl3pPr marL="463550" indent="-231775">
              <a:buFont typeface="Wingdings" pitchFamily="2" charset="2"/>
              <a:buChar char="§"/>
              <a:defRPr sz="1200"/>
            </a:lvl3pPr>
            <a:lvl4pPr marL="688975" indent="-234950"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3"/>
          </p:nvPr>
        </p:nvSpPr>
        <p:spPr>
          <a:xfrm>
            <a:off x="4624757" y="1235266"/>
            <a:ext cx="3915202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6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 sz="1400"/>
            </a:lvl2pPr>
            <a:lvl3pPr marL="463550" indent="-231775">
              <a:buFont typeface="Wingdings" pitchFamily="2" charset="2"/>
              <a:buChar char="§"/>
              <a:defRPr sz="1200"/>
            </a:lvl3pPr>
            <a:lvl4pPr marL="688975" indent="-234950"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4"/>
          </p:nvPr>
        </p:nvSpPr>
        <p:spPr/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5739E38-99CF-473C-9E8A-247FBD0E185F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513B6E1E-7A03-444D-BCEB-40FB64A7A45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5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EB3BE110-3A7E-41E4-85F4-3306FF271EFA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7BDD925F-8D9D-414C-9AE2-7178E6A5F0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5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19150" y="2930155"/>
            <a:ext cx="7505700" cy="792162"/>
          </a:xfrm>
          <a:prstGeom prst="rect">
            <a:avLst/>
          </a:prstGeom>
        </p:spPr>
        <p:txBody>
          <a:bodyPr anchor="ctr"/>
          <a:lstStyle>
            <a:lvl1pPr algn="ctr"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6273BE5C-3521-4E16-9347-C065A165AEF7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671C1C66-0127-415A-BC7B-0602C77CF61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976DDF-2607-4484-ADC9-40AC9367691F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ED9110-2D4D-4B1C-9EDC-AC75BA3308D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3459163" y="1841500"/>
            <a:ext cx="2225675" cy="222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8713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046922"/>
            <a:ext cx="7772400" cy="675860"/>
          </a:xfrm>
          <a:prstGeom prst="rect">
            <a:avLst/>
          </a:prstGeom>
        </p:spPr>
        <p:txBody>
          <a:bodyPr anchor="ctr"/>
          <a:lstStyle>
            <a:lvl1pPr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8713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271749"/>
            <a:ext cx="6400800" cy="1559206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200" b="1"/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F69D475-7223-45B9-9854-B6C8C3FFDC3F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6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227" y="1245704"/>
            <a:ext cx="7911547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8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/>
            </a:lvl2pPr>
            <a:lvl3pPr marL="466725" indent="-241300">
              <a:buFont typeface="Wingdings" pitchFamily="2" charset="2"/>
              <a:buChar char="§"/>
              <a:defRPr/>
            </a:lvl3pPr>
            <a:lvl4pPr marL="685800" indent="-228600">
              <a:buFont typeface="Arial" pitchFamily="34" charset="0"/>
              <a:buChar char="•"/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1FF0FC44-C810-4441-8C0F-BF2368550123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D9BDCB59-3755-4A3F-8F14-125F2E2838B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6111" y="1235266"/>
            <a:ext cx="3915202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6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 sz="1400"/>
            </a:lvl2pPr>
            <a:lvl3pPr marL="463550" indent="-231775">
              <a:buFont typeface="Wingdings" pitchFamily="2" charset="2"/>
              <a:buChar char="§"/>
              <a:defRPr sz="1200"/>
            </a:lvl3pPr>
            <a:lvl4pPr marL="688975" indent="-234950"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3"/>
          </p:nvPr>
        </p:nvSpPr>
        <p:spPr>
          <a:xfrm>
            <a:off x="4624757" y="1235266"/>
            <a:ext cx="3915202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6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 sz="1400"/>
            </a:lvl2pPr>
            <a:lvl3pPr marL="463550" indent="-231775">
              <a:buFont typeface="Wingdings" pitchFamily="2" charset="2"/>
              <a:buChar char="§"/>
              <a:defRPr sz="1200"/>
            </a:lvl3pPr>
            <a:lvl4pPr marL="688975" indent="-234950"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4"/>
          </p:nvPr>
        </p:nvSpPr>
        <p:spPr/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0E050EC-9533-4DC9-B4A6-7AEBA1C264BA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513B6E1E-7A03-444D-BCEB-40FB64A7A45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5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0D247986-D810-44AA-B23D-84B12D91F062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7BDD925F-8D9D-414C-9AE2-7178E6A5F0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5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19150" y="2930155"/>
            <a:ext cx="7505700" cy="792162"/>
          </a:xfrm>
          <a:prstGeom prst="rect">
            <a:avLst/>
          </a:prstGeom>
        </p:spPr>
        <p:txBody>
          <a:bodyPr anchor="ctr"/>
          <a:lstStyle>
            <a:lvl1pPr algn="ctr"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8874286D-8C09-4567-99E5-04EB884A0413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671C1C66-0127-415A-BC7B-0602C77CF61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BBD1A7-7448-4FF1-83C5-AF636CA52E3C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ED9110-2D4D-4B1C-9EDC-AC75BA3308D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1186" y="0"/>
            <a:ext cx="9145186" cy="1230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99659112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677804-CA34-4AB0-B2DD-11C4F5E0AAA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71166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206DB5-C223-4E9C-BD08-4F95DE83CF3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84786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2B12B-4D85-491A-B721-4F2C51D826E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4422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D38FD2-C195-47F2-A019-BB07EA1940C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5260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149E1B4-6973-4331-8F1F-F935BCB34F81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6ABEA5-4B6E-4C56-8794-6DAA0ADE21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04461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622572-8D75-492F-B1CB-740B9D8CFF4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586553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166688" y="6543675"/>
            <a:ext cx="1228725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l" eaLnBrk="1" hangingPunct="1">
              <a:lnSpc>
                <a:spcPct val="100000"/>
              </a:lnSpc>
              <a:defRPr/>
            </a:pPr>
            <a:r>
              <a:rPr lang="en-US" sz="1400" b="0" dirty="0">
                <a:solidFill>
                  <a:srgbClr val="000000"/>
                </a:solidFill>
                <a:latin typeface="Arial" pitchFamily="34" charset="0"/>
              </a:rPr>
              <a:t>3 Oct 1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05800" y="6543675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2B1DDC-5A67-48AE-ABE3-F358385D63C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51650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92075" y="6445250"/>
            <a:ext cx="1228725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l" eaLnBrk="1" hangingPunct="1">
              <a:lnSpc>
                <a:spcPct val="100000"/>
              </a:lnSpc>
              <a:defRPr/>
            </a:pPr>
            <a:r>
              <a:rPr lang="en-US" sz="1400" b="0" dirty="0" smtClean="0">
                <a:solidFill>
                  <a:srgbClr val="000000"/>
                </a:solidFill>
                <a:latin typeface="Arial" pitchFamily="34" charset="0"/>
              </a:rPr>
              <a:t>22 Feb 12</a:t>
            </a:r>
            <a:endParaRPr lang="en-US" sz="1400" b="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5876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343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7934018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5086B9-B899-4B8D-B148-1371A72F2F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535914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95400"/>
            <a:ext cx="4038600" cy="4953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038600" cy="4953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BACE7F-C5C1-4F50-88EC-CB4C4196128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20548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BE4918-420B-4B8C-B37E-9A5C3E7A62D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13600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34CF0F-41FB-428C-8283-C489D9239D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62300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66354D-5427-4BEE-A726-AAAC901A6A9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203019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C9D328-74E1-4D01-9B39-2A8E6DF71A9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99241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123B0A9-7ADC-4E5C-90ED-5BD287A1B257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C7F8E9-C8B8-416B-9933-563486E8F74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52299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EDDEED-08A4-4996-B5BC-1D59C2B20CF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065153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28600"/>
            <a:ext cx="2057400" cy="60198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28600"/>
            <a:ext cx="6019800" cy="60198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E22577-93A5-4BFE-8B0D-02315DD744E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20153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3459163" y="1841500"/>
            <a:ext cx="2225675" cy="222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8713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046922"/>
            <a:ext cx="7772400" cy="675860"/>
          </a:xfrm>
          <a:prstGeom prst="rect">
            <a:avLst/>
          </a:prstGeom>
        </p:spPr>
        <p:txBody>
          <a:bodyPr anchor="ctr"/>
          <a:lstStyle>
            <a:lvl1pPr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8713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271749"/>
            <a:ext cx="6400800" cy="1559206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200" b="1"/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22984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6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227" y="1245704"/>
            <a:ext cx="7911547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8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/>
            </a:lvl2pPr>
            <a:lvl3pPr marL="466725" indent="-241300">
              <a:buFont typeface="Wingdings" pitchFamily="2" charset="2"/>
              <a:buChar char="§"/>
              <a:defRPr/>
            </a:lvl3pPr>
            <a:lvl4pPr marL="685800" indent="-228600">
              <a:buFont typeface="Arial" pitchFamily="34" charset="0"/>
              <a:buChar char="•"/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0AF84ADA-73A3-4542-BE1C-70A45B0631ED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D9BDCB59-3755-4A3F-8F14-125F2E2838B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48719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6111" y="1235266"/>
            <a:ext cx="3915202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6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 sz="1400"/>
            </a:lvl2pPr>
            <a:lvl3pPr marL="463550" indent="-231775">
              <a:buFont typeface="Wingdings" pitchFamily="2" charset="2"/>
              <a:buChar char="§"/>
              <a:defRPr sz="1200"/>
            </a:lvl3pPr>
            <a:lvl4pPr marL="688975" indent="-234950"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3"/>
          </p:nvPr>
        </p:nvSpPr>
        <p:spPr>
          <a:xfrm>
            <a:off x="4624757" y="1235266"/>
            <a:ext cx="3915202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6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 sz="1400"/>
            </a:lvl2pPr>
            <a:lvl3pPr marL="463550" indent="-231775">
              <a:buFont typeface="Wingdings" pitchFamily="2" charset="2"/>
              <a:buChar char="§"/>
              <a:defRPr sz="1200"/>
            </a:lvl3pPr>
            <a:lvl4pPr marL="688975" indent="-234950"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4"/>
          </p:nvPr>
        </p:nvSpPr>
        <p:spPr/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0931E67-88B9-460D-A4CA-AF437C355F0E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513B6E1E-7A03-444D-BCEB-40FB64A7A45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45006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5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097A968B-B3FE-4BCC-9763-713699F0A418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7BDD925F-8D9D-414C-9AE2-7178E6A5F0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430526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5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19150" y="2930155"/>
            <a:ext cx="7505700" cy="792162"/>
          </a:xfrm>
          <a:prstGeom prst="rect">
            <a:avLst/>
          </a:prstGeom>
        </p:spPr>
        <p:txBody>
          <a:bodyPr anchor="ctr"/>
          <a:lstStyle>
            <a:lvl1pPr algn="ctr"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D738E2F3-A6AA-4AE6-9192-423B3F104930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671C1C66-0127-415A-BC7B-0602C77CF61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86615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B3448F-92A4-499F-9E65-098281D31B73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ED9110-2D4D-4B1C-9EDC-AC75BA3308D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1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379848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86" y="0"/>
            <a:ext cx="9145186" cy="1230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4" name="TextBox 3"/>
          <p:cNvSpPr txBox="1"/>
          <p:nvPr userDrawn="1"/>
        </p:nvSpPr>
        <p:spPr>
          <a:xfrm>
            <a:off x="8788400" y="6595674"/>
            <a:ext cx="3556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72BEB00-C7BA-49F0-86B2-023AD4AE668F}" type="slidenum">
              <a:rPr lang="en-US" sz="1200" smtClean="0">
                <a:solidFill>
                  <a:srgbClr val="000000"/>
                </a:solidFill>
              </a:rPr>
              <a:pPr algn="r"/>
              <a:t>‹#›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039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43AB867-6A70-4784-95EB-9FEC4B62E198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677804-CA34-4AB0-B2DD-11C4F5E0AAA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86254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206DB5-C223-4E9C-BD08-4F95DE83CF3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961845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48668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D38FD2-C195-47F2-A019-BB07EA1940C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23766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6ABEA5-4B6E-4C56-8794-6DAA0ADE21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61506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622572-8D75-492F-B1CB-740B9D8CFF4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41257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1186" y="0"/>
            <a:ext cx="9145186" cy="1230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4" name="TextBox 3"/>
          <p:cNvSpPr txBox="1"/>
          <p:nvPr userDrawn="1"/>
        </p:nvSpPr>
        <p:spPr>
          <a:xfrm>
            <a:off x="8788400" y="6595674"/>
            <a:ext cx="3556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72BEB00-C7BA-49F0-86B2-023AD4AE668F}" type="slidenum">
              <a:rPr lang="en-US" sz="1200" smtClean="0">
                <a:solidFill>
                  <a:srgbClr val="000000"/>
                </a:solidFill>
                <a:latin typeface="Arial Narrow"/>
              </a:rPr>
              <a:pPr algn="r"/>
              <a:t>‹#›</a:t>
            </a:fld>
            <a:endParaRPr lang="en-US" sz="1200" dirty="0">
              <a:solidFill>
                <a:srgbClr val="000000"/>
              </a:solidFill>
              <a:latin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344031597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677804-CA34-4AB0-B2DD-11C4F5E0AAA1}" type="slidenum">
              <a:rPr lang="en-US">
                <a:solidFill>
                  <a:srgbClr val="000000"/>
                </a:solidFill>
                <a:latin typeface="Arial Narrow"/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  <a:latin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8397398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206DB5-C223-4E9C-BD08-4F95DE83CF37}" type="slidenum">
              <a:rPr lang="en-US">
                <a:solidFill>
                  <a:srgbClr val="000000"/>
                </a:solidFill>
                <a:latin typeface="Arial Narrow"/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  <a:latin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325831869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5928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7AB2521-EFC6-46B9-B3C4-B967CBEDC567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D38FD2-C195-47F2-A019-BB07EA1940C2}" type="slidenum">
              <a:rPr lang="en-US">
                <a:solidFill>
                  <a:srgbClr val="000000"/>
                </a:solidFill>
                <a:latin typeface="Arial Narrow"/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  <a:latin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233174070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6ABEA5-4B6E-4C56-8794-6DAA0ADE21B0}" type="slidenum">
              <a:rPr lang="en-US">
                <a:solidFill>
                  <a:srgbClr val="000000"/>
                </a:solidFill>
                <a:latin typeface="Arial Narrow"/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  <a:latin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389199824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622572-8D75-492F-B1CB-740B9D8CFF41}" type="slidenum">
              <a:rPr lang="en-US">
                <a:solidFill>
                  <a:srgbClr val="000000"/>
                </a:solidFill>
                <a:latin typeface="Arial Narrow"/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  <a:latin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345658336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86" y="0"/>
            <a:ext cx="9145186" cy="1230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183931771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677804-CA34-4AB0-B2DD-11C4F5E0AAA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30454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206DB5-C223-4E9C-BD08-4F95DE83CF3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26137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2B12B-4D85-491A-B721-4F2C51D826E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84099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D38FD2-C195-47F2-A019-BB07EA1940C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023549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6ABEA5-4B6E-4C56-8794-6DAA0ADE21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481060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622572-8D75-492F-B1CB-740B9D8CFF4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6908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C99D295-C4D1-487E-A5BB-E9F02B3198FA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166688" y="6543675"/>
            <a:ext cx="1228725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l" eaLnBrk="1" hangingPunct="1">
              <a:lnSpc>
                <a:spcPct val="100000"/>
              </a:lnSpc>
              <a:defRPr/>
            </a:pPr>
            <a:r>
              <a:rPr lang="en-US" sz="1400" b="0" dirty="0">
                <a:solidFill>
                  <a:srgbClr val="000000"/>
                </a:solidFill>
                <a:latin typeface="Arial" pitchFamily="34" charset="0"/>
              </a:rPr>
              <a:t>3 Oct 1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05800" y="6543675"/>
            <a:ext cx="533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2B1DDC-5A67-48AE-ABE3-F358385D63C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32592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92075" y="6445250"/>
            <a:ext cx="1228725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l" eaLnBrk="1" hangingPunct="1">
              <a:lnSpc>
                <a:spcPct val="100000"/>
              </a:lnSpc>
              <a:defRPr/>
            </a:pPr>
            <a:r>
              <a:rPr lang="en-US" sz="1400" b="0" dirty="0">
                <a:solidFill>
                  <a:srgbClr val="000000"/>
                </a:solidFill>
                <a:latin typeface="Arial" pitchFamily="34" charset="0"/>
              </a:rPr>
              <a:t>6 Oct 11</a:t>
            </a: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5876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343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1690978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5086B9-B899-4B8D-B148-1371A72F2F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090643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95400"/>
            <a:ext cx="4038600" cy="4953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038600" cy="4953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BACE7F-C5C1-4F50-88EC-CB4C4196128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0812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BE4918-420B-4B8C-B37E-9A5C3E7A62D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41734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34CF0F-41FB-428C-8283-C489D9239D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37875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66354D-5427-4BEE-A726-AAAC901A6A9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67692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C9D328-74E1-4D01-9B39-2A8E6DF71A9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752797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C7F8E9-C8B8-416B-9933-563486E8F74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02889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EDDEED-08A4-4996-B5BC-1D59C2B20CF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222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ED4571E-F2BA-43C4-9FCF-2D2FBFF01F94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28600"/>
            <a:ext cx="2057400" cy="60198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28600"/>
            <a:ext cx="6019800" cy="60198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E22577-93A5-4BFE-8B0D-02315DD744E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2395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866498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319358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8DED72F-6286-40BB-BD72-9A58A634FF4D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893031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39A116B-8AE5-4DD8-AB31-AAB64CB2259C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25510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A47173C-86AD-4387-AFE0-BEA1149C6201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69811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9F6FFFD-0A6B-40A8-9B4D-F984C615E52A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06248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44D49C-26B3-49BB-8046-23DBCC9942C9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595544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8E39917-BA25-4003-9B70-14CED0A3960D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977474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2263EF0-8CD9-4ABE-9B4B-BB98713E7A63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1991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0" y="274639"/>
            <a:ext cx="6858000" cy="776922"/>
          </a:xfrm>
          <a:prstGeom prst="rect">
            <a:avLst/>
          </a:prstGeom>
        </p:spPr>
        <p:txBody>
          <a:bodyPr/>
          <a:lstStyle>
            <a:lvl1pPr algn="l">
              <a:defRPr sz="3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325880"/>
            <a:ext cx="7772400" cy="480028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63641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Arial Narrow" panose="020B0606020202030204" pitchFamily="34" charset="0"/>
              </a:defRPr>
            </a:lvl1pPr>
          </a:lstStyle>
          <a:p>
            <a:fld id="{8E6B4DDA-C30B-4BFF-861C-4BF350FDF77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922174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B08288-54E2-46AF-B311-22DD6A7B240C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12455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8885EA-23E4-4644-BF42-91164A8E4DE5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079461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63641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378F9958-02CF-44E9-AAF3-DDDDE063D44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828800" y="274639"/>
            <a:ext cx="6858000" cy="776922"/>
          </a:xfrm>
          <a:prstGeom prst="rect">
            <a:avLst/>
          </a:prstGeom>
        </p:spPr>
        <p:txBody>
          <a:bodyPr/>
          <a:lstStyle>
            <a:lvl1pPr algn="l"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036800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0" y="274639"/>
            <a:ext cx="6858000" cy="776922"/>
          </a:xfrm>
          <a:prstGeom prst="rect">
            <a:avLst/>
          </a:prstGeom>
        </p:spPr>
        <p:txBody>
          <a:bodyPr/>
          <a:lstStyle>
            <a:lvl1pPr algn="l">
              <a:defRPr sz="3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325880"/>
            <a:ext cx="7772400" cy="480028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63641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Arial Narrow" panose="020B0606020202030204" pitchFamily="34" charset="0"/>
              </a:defRPr>
            </a:lvl1pPr>
          </a:lstStyle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8E6B4DDA-C30B-4BFF-861C-4BF350FDF77F}" type="slidenum">
              <a:rPr lang="en-US" sz="1800" b="0" smtClean="0">
                <a:solidFill>
                  <a:prstClr val="black"/>
                </a:solidFill>
              </a:rPr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800" b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190528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2"/>
          <p:cNvSpPr>
            <a:spLocks noChangeShapeType="1"/>
          </p:cNvSpPr>
          <p:nvPr/>
        </p:nvSpPr>
        <p:spPr bwMode="auto">
          <a:xfrm>
            <a:off x="381000" y="6451600"/>
            <a:ext cx="8382000" cy="0"/>
          </a:xfrm>
          <a:prstGeom prst="line">
            <a:avLst/>
          </a:prstGeom>
          <a:noFill/>
          <a:ln w="57150">
            <a:solidFill>
              <a:srgbClr val="0C2D83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100000"/>
              </a:lnSpc>
              <a:defRPr/>
            </a:pPr>
            <a:endParaRPr lang="en-US" sz="12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1270000" y="1233592"/>
            <a:ext cx="65532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2000" i="1" dirty="0">
                <a:solidFill>
                  <a:srgbClr val="000000"/>
                </a:solidFill>
                <a:latin typeface="Century Schoolbook" pitchFamily="18" charset="0"/>
              </a:rPr>
              <a:t>I n t e g r i t y  -  S e r v i c e  -  E x c e l l e n c e</a:t>
            </a:r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381000" y="1231900"/>
            <a:ext cx="8382000" cy="0"/>
          </a:xfrm>
          <a:prstGeom prst="line">
            <a:avLst/>
          </a:prstGeom>
          <a:noFill/>
          <a:ln w="57150">
            <a:solidFill>
              <a:srgbClr val="0C2D83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100000"/>
              </a:lnSpc>
              <a:defRPr/>
            </a:pPr>
            <a:endParaRPr lang="en-US" sz="1200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6" name="Picture 13" descr="afsymbol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19152" y="3698875"/>
            <a:ext cx="3305175" cy="2605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14"/>
          <p:cNvSpPr txBox="1">
            <a:spLocks noChangeArrowheads="1"/>
          </p:cNvSpPr>
          <p:nvPr/>
        </p:nvSpPr>
        <p:spPr bwMode="auto">
          <a:xfrm>
            <a:off x="1385066" y="500067"/>
            <a:ext cx="632307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defRPr/>
            </a:pPr>
            <a:r>
              <a:rPr lang="en-US" sz="3600" i="1" dirty="0">
                <a:solidFill>
                  <a:srgbClr val="000000"/>
                </a:solidFill>
                <a:latin typeface="Arial"/>
              </a:rPr>
              <a:t>Headquarters U.S. Air Force</a:t>
            </a:r>
          </a:p>
        </p:txBody>
      </p:sp>
      <p:sp>
        <p:nvSpPr>
          <p:cNvPr id="50191" name="Rectangle 15"/>
          <p:cNvSpPr>
            <a:spLocks noGrp="1" noChangeArrowheads="1"/>
          </p:cNvSpPr>
          <p:nvPr>
            <p:ph type="ctrTitle"/>
          </p:nvPr>
        </p:nvSpPr>
        <p:spPr>
          <a:xfrm>
            <a:off x="276277" y="1962150"/>
            <a:ext cx="8486775" cy="1600200"/>
          </a:xfrm>
        </p:spPr>
        <p:txBody>
          <a:bodyPr/>
          <a:lstStyle>
            <a:lvl1pPr>
              <a:defRPr sz="4400" i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fld id="{55129E95-3DB1-4E26-828F-B52689A1ADCE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630F34-147E-4566-BC2A-448293DE3CCA}" type="slidenum">
              <a:rPr 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34615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fld id="{1BEDAD43-47B0-42DB-8932-23D52FE7AB47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AA7ED7-1753-4FEE-A29A-FBEDEAE3FFFE}" type="slidenum">
              <a:rPr 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643806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0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fld id="{35109C70-9ED1-4BE9-B74E-AE5BD5082187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4DB1B7-BEA4-4C17-9F8B-C3A9B8EE8B31}" type="slidenum">
              <a:rPr 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20735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6225" y="1504950"/>
            <a:ext cx="4122738" cy="47434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1415" y="1504950"/>
            <a:ext cx="4122737" cy="47434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fld id="{31F1261B-CA61-4AB0-81CA-06712E0BC5D1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10091A-52EA-43D4-A3D8-E1DB88727AED}" type="slidenum">
              <a:rPr 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9659480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fld id="{86C5484F-5047-4649-B862-534CDCCF7537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6D9A09-94C0-4C15-8804-6A716C3FA2DA}" type="slidenum">
              <a:rPr 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4231267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5BA746D-8330-4B03-BA60-05ADF93FC52B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29B46ED-4320-44E1-820C-017B78782B0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64517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677804-CA34-4AB0-B2DD-11C4F5E0AA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fld id="{98540155-FFF5-477E-94EF-3A082D7B3A1B}" type="slidenum">
              <a:rPr lang="en-US" sz="1000" b="1" kern="1200">
                <a:solidFill>
                  <a:srgbClr val="000000"/>
                </a:solidFill>
                <a:latin typeface="Arial Narrow" pitchFamily="34" charset="0"/>
                <a:ea typeface="+mn-ea"/>
                <a:cs typeface="+mn-cs"/>
              </a:rPr>
              <a:pPr algn="l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kern="1200" dirty="0">
              <a:solidFill>
                <a:srgbClr val="000000"/>
              </a:solidFill>
              <a:latin typeface="Arial Narrow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fld id="{550EA60E-FC01-4F82-B4B9-75B8EC6630E8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DCF623-8882-488A-8822-99D727C206A9}" type="slidenum">
              <a:rPr 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76308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fld id="{E5D36361-7D30-415E-9EEF-127727DFE081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D39AA4-A975-4898-923C-18723D1AD679}" type="slidenum">
              <a:rPr 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788060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5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5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fld id="{72069406-43A3-407B-862E-F4D097F5EAA0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0DAA06-559F-489F-9ED3-DC73172F6C2E}" type="slidenum">
              <a:rPr 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5622422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fld id="{BFF33CC6-C420-4C8A-9380-AD1EE53BD564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8D4748-FB11-47BE-A3AB-01E99EC86323}" type="slidenum">
              <a:rPr 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47170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fld id="{AE0B8BB4-B09E-4D19-AE95-1CDC3A7E49D7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A4D38B-1C14-4AD6-8482-AC66EC647E05}" type="slidenum">
              <a:rPr 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13883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75440" y="76200"/>
            <a:ext cx="2132012" cy="6172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76225" y="76200"/>
            <a:ext cx="6246813" cy="61722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fld id="{2D299C05-07E8-472A-95E9-686263B4D2FD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654A2C-27CF-49CC-AAA2-3BE10B77E4F8}" type="slidenum">
              <a:rPr lang="en-US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98855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86" y="0"/>
            <a:ext cx="9145186" cy="1230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424810233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677804-CA34-4AB0-B2DD-11C4F5E0AAA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874464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206DB5-C223-4E9C-BD08-4F95DE83CF3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655265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2B12B-4D85-491A-B721-4F2C51D826E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7054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fld id="{7A475D06-D736-4364-8802-F008814B6380}" type="slidenum">
              <a:rPr lang="en-US" sz="1000" b="1" kern="1200">
                <a:solidFill>
                  <a:srgbClr val="000000"/>
                </a:solidFill>
                <a:latin typeface="Arial Narrow" pitchFamily="34" charset="0"/>
                <a:ea typeface="+mn-ea"/>
                <a:cs typeface="+mn-cs"/>
              </a:rPr>
              <a:pPr algn="l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kern="1200" dirty="0">
              <a:solidFill>
                <a:srgbClr val="000000"/>
              </a:solidFill>
              <a:latin typeface="Arial Narrow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D38FD2-C195-47F2-A019-BB07EA1940C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91774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6ABEA5-4B6E-4C56-8794-6DAA0ADE21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306847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622572-8D75-492F-B1CB-740B9D8CFF4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56408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073900" y="6632575"/>
            <a:ext cx="2133600" cy="2730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FCE4A8-FA13-4B3F-9F5D-66FB42529A6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919852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l" eaLnBrk="1" hangingPunct="1">
              <a:lnSpc>
                <a:spcPct val="100000"/>
              </a:lnSpc>
              <a:defRPr/>
            </a:pPr>
            <a:fld id="{0FF65736-1CC0-4BCA-BB79-9BC9C2018FD7}" type="datetime1">
              <a:rPr lang="en-US" sz="1800" b="0" smtClean="0">
                <a:solidFill>
                  <a:srgbClr val="000000"/>
                </a:solidFill>
                <a:latin typeface="Arial" charset="0"/>
              </a:rPr>
              <a:t>5/24/2019</a:t>
            </a:fld>
            <a:endParaRPr lang="en-US" sz="1800" b="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l" eaLnBrk="1" hangingPunct="1">
              <a:lnSpc>
                <a:spcPct val="100000"/>
              </a:lnSpc>
              <a:defRPr/>
            </a:pPr>
            <a:endParaRPr lang="en-US" sz="1800" b="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l" eaLnBrk="1" hangingPunct="1">
              <a:lnSpc>
                <a:spcPct val="100000"/>
              </a:lnSpc>
              <a:defRPr/>
            </a:pPr>
            <a:fld id="{1E124462-D9C3-408A-B99B-E051DF9587D9}" type="slidenum">
              <a:rPr lang="en-US" sz="1800" b="0">
                <a:solidFill>
                  <a:srgbClr val="000000"/>
                </a:solidFill>
                <a:latin typeface="Arial" charset="0"/>
              </a:rPr>
              <a:pPr algn="l" eaLnBrk="1" hangingPunct="1">
                <a:lnSpc>
                  <a:spcPct val="100000"/>
                </a:lnSpc>
                <a:defRPr/>
              </a:pPr>
              <a:t>‹#›</a:t>
            </a:fld>
            <a:endParaRPr lang="en-US" sz="1800" b="0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251121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86" y="6"/>
            <a:ext cx="9145186" cy="1230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428222516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" y="6618288"/>
            <a:ext cx="350837" cy="239712"/>
          </a:xfrm>
          <a:prstGeom prst="rect">
            <a:avLst/>
          </a:prstGeom>
          <a:ln/>
        </p:spPr>
        <p:txBody>
          <a:bodyPr lIns="91302" tIns="45653" rIns="91302" bIns="45653"/>
          <a:lstStyle>
            <a:lvl1pPr>
              <a:defRPr/>
            </a:lvl1pPr>
          </a:lstStyle>
          <a:p>
            <a:pPr>
              <a:defRPr/>
            </a:pPr>
            <a:fld id="{97677804-CA34-4AB0-B2DD-11C4F5E0AAA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287666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 lIns="91302" tIns="45653" rIns="91302" bIns="45653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 lIns="91302" tIns="45653" rIns="91302" bIns="45653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" y="6618288"/>
            <a:ext cx="350837" cy="239712"/>
          </a:xfrm>
          <a:prstGeom prst="rect">
            <a:avLst/>
          </a:prstGeom>
          <a:ln/>
        </p:spPr>
        <p:txBody>
          <a:bodyPr lIns="91302" tIns="45653" rIns="91302" bIns="45653"/>
          <a:lstStyle>
            <a:lvl1pPr>
              <a:defRPr/>
            </a:lvl1pPr>
          </a:lstStyle>
          <a:p>
            <a:pPr>
              <a:defRPr/>
            </a:pPr>
            <a:fld id="{F3206DB5-C223-4E9C-BD08-4F95DE83CF3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99426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" y="6618288"/>
            <a:ext cx="350837" cy="239712"/>
          </a:xfrm>
          <a:prstGeom prst="rect">
            <a:avLst/>
          </a:prstGeom>
          <a:ln/>
        </p:spPr>
        <p:txBody>
          <a:bodyPr lIns="91302" tIns="45653" rIns="91302" bIns="45653"/>
          <a:lstStyle>
            <a:lvl1pPr>
              <a:defRPr/>
            </a:lvl1pPr>
          </a:lstStyle>
          <a:p>
            <a:pPr>
              <a:defRPr/>
            </a:pPr>
            <a:fld id="{7E62B12B-4D85-491A-B721-4F2C51D826E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75905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" y="6618288"/>
            <a:ext cx="350837" cy="239712"/>
          </a:xfrm>
          <a:prstGeom prst="rect">
            <a:avLst/>
          </a:prstGeom>
          <a:ln/>
        </p:spPr>
        <p:txBody>
          <a:bodyPr lIns="91302" tIns="45653" rIns="91302" bIns="45653"/>
          <a:lstStyle>
            <a:lvl1pPr>
              <a:defRPr/>
            </a:lvl1pPr>
          </a:lstStyle>
          <a:p>
            <a:pPr>
              <a:defRPr/>
            </a:pPr>
            <a:fld id="{FDD38FD2-C195-47F2-A019-BB07EA1940C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6371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fld id="{2FD7421A-E943-4B6D-A582-E6D40599F2A8}" type="slidenum">
              <a:rPr lang="en-US" sz="1000" b="1" kern="1200">
                <a:solidFill>
                  <a:srgbClr val="000000"/>
                </a:solidFill>
                <a:latin typeface="Arial Narrow" pitchFamily="34" charset="0"/>
                <a:ea typeface="+mn-ea"/>
                <a:cs typeface="+mn-cs"/>
              </a:rPr>
              <a:pPr algn="l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kern="1200" dirty="0">
              <a:solidFill>
                <a:srgbClr val="000000"/>
              </a:solidFill>
              <a:latin typeface="Arial Narrow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" y="6618288"/>
            <a:ext cx="350837" cy="239712"/>
          </a:xfrm>
          <a:prstGeom prst="rect">
            <a:avLst/>
          </a:prstGeom>
          <a:ln/>
        </p:spPr>
        <p:txBody>
          <a:bodyPr lIns="91302" tIns="45653" rIns="91302" bIns="45653"/>
          <a:lstStyle>
            <a:lvl1pPr>
              <a:defRPr/>
            </a:lvl1pPr>
          </a:lstStyle>
          <a:p>
            <a:pPr>
              <a:defRPr/>
            </a:pPr>
            <a:fld id="{116ABEA5-4B6E-4C56-8794-6DAA0ADE21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358560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" y="6618288"/>
            <a:ext cx="350837" cy="239712"/>
          </a:xfrm>
          <a:prstGeom prst="rect">
            <a:avLst/>
          </a:prstGeom>
          <a:ln/>
        </p:spPr>
        <p:txBody>
          <a:bodyPr lIns="91302" tIns="45653" rIns="91302" bIns="45653"/>
          <a:lstStyle>
            <a:lvl1pPr>
              <a:defRPr/>
            </a:lvl1pPr>
          </a:lstStyle>
          <a:p>
            <a:pPr>
              <a:defRPr/>
            </a:pPr>
            <a:fld id="{65622572-8D75-492F-B1CB-740B9D8CFF4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73010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1186" y="6"/>
            <a:ext cx="9145186" cy="1230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1693622845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" y="6618288"/>
            <a:ext cx="350837" cy="239712"/>
          </a:xfrm>
          <a:prstGeom prst="rect">
            <a:avLst/>
          </a:prstGeom>
          <a:ln/>
        </p:spPr>
        <p:txBody>
          <a:bodyPr lIns="91302" tIns="45653" rIns="91302" bIns="45653"/>
          <a:lstStyle>
            <a:lvl1pPr>
              <a:defRPr/>
            </a:lvl1pPr>
          </a:lstStyle>
          <a:p>
            <a:pPr>
              <a:defRPr/>
            </a:pPr>
            <a:fld id="{97677804-CA34-4AB0-B2DD-11C4F5E0AAA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64804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 lIns="91302" tIns="45653" rIns="91302" bIns="45653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 lIns="91302" tIns="45653" rIns="91302" bIns="45653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" y="6618288"/>
            <a:ext cx="350837" cy="239712"/>
          </a:xfrm>
          <a:prstGeom prst="rect">
            <a:avLst/>
          </a:prstGeom>
          <a:ln/>
        </p:spPr>
        <p:txBody>
          <a:bodyPr lIns="91302" tIns="45653" rIns="91302" bIns="45653"/>
          <a:lstStyle>
            <a:lvl1pPr>
              <a:defRPr/>
            </a:lvl1pPr>
          </a:lstStyle>
          <a:p>
            <a:pPr>
              <a:defRPr/>
            </a:pPr>
            <a:fld id="{F3206DB5-C223-4E9C-BD08-4F95DE83CF3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9066895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" y="6618288"/>
            <a:ext cx="350837" cy="239712"/>
          </a:xfrm>
          <a:prstGeom prst="rect">
            <a:avLst/>
          </a:prstGeom>
          <a:ln/>
        </p:spPr>
        <p:txBody>
          <a:bodyPr lIns="91302" tIns="45653" rIns="91302" bIns="45653"/>
          <a:lstStyle>
            <a:lvl1pPr>
              <a:defRPr/>
            </a:lvl1pPr>
          </a:lstStyle>
          <a:p>
            <a:pPr>
              <a:defRPr/>
            </a:pPr>
            <a:fld id="{7E62B12B-4D85-491A-B721-4F2C51D826E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955839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" y="6618288"/>
            <a:ext cx="350837" cy="239712"/>
          </a:xfrm>
          <a:prstGeom prst="rect">
            <a:avLst/>
          </a:prstGeom>
          <a:ln/>
        </p:spPr>
        <p:txBody>
          <a:bodyPr lIns="91302" tIns="45653" rIns="91302" bIns="45653"/>
          <a:lstStyle>
            <a:lvl1pPr>
              <a:defRPr/>
            </a:lvl1pPr>
          </a:lstStyle>
          <a:p>
            <a:pPr>
              <a:defRPr/>
            </a:pPr>
            <a:fld id="{FDD38FD2-C195-47F2-A019-BB07EA1940C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3859224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" y="6618288"/>
            <a:ext cx="350837" cy="239712"/>
          </a:xfrm>
          <a:prstGeom prst="rect">
            <a:avLst/>
          </a:prstGeom>
          <a:ln/>
        </p:spPr>
        <p:txBody>
          <a:bodyPr lIns="91302" tIns="45653" rIns="91302" bIns="45653"/>
          <a:lstStyle>
            <a:lvl1pPr>
              <a:defRPr/>
            </a:lvl1pPr>
          </a:lstStyle>
          <a:p>
            <a:pPr>
              <a:defRPr/>
            </a:pPr>
            <a:fld id="{116ABEA5-4B6E-4C56-8794-6DAA0ADE21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471608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" y="6618288"/>
            <a:ext cx="350837" cy="239712"/>
          </a:xfrm>
          <a:prstGeom prst="rect">
            <a:avLst/>
          </a:prstGeom>
          <a:ln/>
        </p:spPr>
        <p:txBody>
          <a:bodyPr lIns="91302" tIns="45653" rIns="91302" bIns="45653"/>
          <a:lstStyle>
            <a:lvl1pPr>
              <a:defRPr/>
            </a:lvl1pPr>
          </a:lstStyle>
          <a:p>
            <a:pPr>
              <a:defRPr/>
            </a:pPr>
            <a:fld id="{65622572-8D75-492F-B1CB-740B9D8CFF4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15741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78125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fld id="{E6AF2452-97C0-4C02-87A5-A983B5EDD434}" type="slidenum">
              <a:rPr lang="en-US" sz="1000" b="1" kern="1200">
                <a:solidFill>
                  <a:srgbClr val="000000"/>
                </a:solidFill>
                <a:latin typeface="Arial Narrow" pitchFamily="34" charset="0"/>
                <a:ea typeface="+mn-ea"/>
                <a:cs typeface="+mn-cs"/>
              </a:rPr>
              <a:pPr algn="l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kern="1200" dirty="0">
              <a:solidFill>
                <a:srgbClr val="000000"/>
              </a:solidFill>
              <a:latin typeface="Arial Narrow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8971242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302" tIns="45653" rIns="91302" bIns="45653"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302" tIns="45653" rIns="91302" bIns="45653"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51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0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954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606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25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3909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56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21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fld id="{768DCFA4-EC73-4521-AC64-EB71FB976119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3"/>
            <a:ext cx="2895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3"/>
            <a:ext cx="2133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9254478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 lIns="91302" tIns="45653" rIns="91302" bIns="45653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 lIns="91302" tIns="45653" rIns="91302" bIns="45653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fld id="{09B1C313-4FD9-461E-9644-75FA952C1190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3"/>
            <a:ext cx="2895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3"/>
            <a:ext cx="2133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7305684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02" tIns="45653" rIns="91302" bIns="45653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302" tIns="45653" rIns="91302" bIns="45653" anchor="b"/>
          <a:lstStyle>
            <a:lvl1pPr marL="0" indent="0">
              <a:buNone/>
              <a:defRPr sz="2400" b="1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8" indent="0">
              <a:buNone/>
              <a:defRPr sz="1600" b="1"/>
            </a:lvl4pPr>
            <a:lvl5pPr marL="1826065" indent="0">
              <a:buNone/>
              <a:defRPr sz="1600" b="1"/>
            </a:lvl5pPr>
            <a:lvl6pPr marL="2282581" indent="0">
              <a:buNone/>
              <a:defRPr sz="1600" b="1"/>
            </a:lvl6pPr>
            <a:lvl7pPr marL="2739098" indent="0">
              <a:buNone/>
              <a:defRPr sz="1600" b="1"/>
            </a:lvl7pPr>
            <a:lvl8pPr marL="3195615" indent="0">
              <a:buNone/>
              <a:defRPr sz="1600" b="1"/>
            </a:lvl8pPr>
            <a:lvl9pPr marL="365213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302" tIns="45653" rIns="91302" bIns="45653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  <a:prstGeom prst="rect">
            <a:avLst/>
          </a:prstGeom>
        </p:spPr>
        <p:txBody>
          <a:bodyPr lIns="91302" tIns="45653" rIns="91302" bIns="45653" anchor="b"/>
          <a:lstStyle>
            <a:lvl1pPr marL="0" indent="0">
              <a:buNone/>
              <a:defRPr sz="2400" b="1"/>
            </a:lvl1pPr>
            <a:lvl2pPr marL="456516" indent="0">
              <a:buNone/>
              <a:defRPr sz="2000" b="1"/>
            </a:lvl2pPr>
            <a:lvl3pPr marL="913032" indent="0">
              <a:buNone/>
              <a:defRPr sz="1800" b="1"/>
            </a:lvl3pPr>
            <a:lvl4pPr marL="1369548" indent="0">
              <a:buNone/>
              <a:defRPr sz="1600" b="1"/>
            </a:lvl4pPr>
            <a:lvl5pPr marL="1826065" indent="0">
              <a:buNone/>
              <a:defRPr sz="1600" b="1"/>
            </a:lvl5pPr>
            <a:lvl6pPr marL="2282581" indent="0">
              <a:buNone/>
              <a:defRPr sz="1600" b="1"/>
            </a:lvl6pPr>
            <a:lvl7pPr marL="2739098" indent="0">
              <a:buNone/>
              <a:defRPr sz="1600" b="1"/>
            </a:lvl7pPr>
            <a:lvl8pPr marL="3195615" indent="0">
              <a:buNone/>
              <a:defRPr sz="1600" b="1"/>
            </a:lvl8pPr>
            <a:lvl9pPr marL="365213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  <a:prstGeom prst="rect">
            <a:avLst/>
          </a:prstGeom>
        </p:spPr>
        <p:txBody>
          <a:bodyPr lIns="91302" tIns="45653" rIns="91302" bIns="45653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fld id="{E425831C-1901-4F0E-9210-C7E447AFF0DF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3"/>
            <a:ext cx="2895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3"/>
            <a:ext cx="2133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5595749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fld id="{079BBE89-989C-498C-A923-7BF0A66552A3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3"/>
            <a:ext cx="2895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3"/>
            <a:ext cx="2133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19538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fld id="{4EBEF202-A363-43BD-BAF7-0DF8F9149D9E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3"/>
            <a:ext cx="2895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3"/>
            <a:ext cx="2133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622976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6" y="273050"/>
            <a:ext cx="3008313" cy="1162050"/>
          </a:xfrm>
          <a:prstGeom prst="rect">
            <a:avLst/>
          </a:prstGeom>
        </p:spPr>
        <p:txBody>
          <a:bodyPr lIns="91302" tIns="45653" rIns="91302" bIns="45653"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 lIns="91302" tIns="45653" rIns="91302" bIns="45653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6" y="1435100"/>
            <a:ext cx="3008313" cy="4691063"/>
          </a:xfrm>
          <a:prstGeom prst="rect">
            <a:avLst/>
          </a:prstGeom>
        </p:spPr>
        <p:txBody>
          <a:bodyPr lIns="91302" tIns="45653" rIns="91302" bIns="45653"/>
          <a:lstStyle>
            <a:lvl1pPr marL="0" indent="0">
              <a:buNone/>
              <a:defRPr sz="1400"/>
            </a:lvl1pPr>
            <a:lvl2pPr marL="456516" indent="0">
              <a:buNone/>
              <a:defRPr sz="1200"/>
            </a:lvl2pPr>
            <a:lvl3pPr marL="913032" indent="0">
              <a:buNone/>
              <a:defRPr sz="1000"/>
            </a:lvl3pPr>
            <a:lvl4pPr marL="1369548" indent="0">
              <a:buNone/>
              <a:defRPr sz="900"/>
            </a:lvl4pPr>
            <a:lvl5pPr marL="1826065" indent="0">
              <a:buNone/>
              <a:defRPr sz="900"/>
            </a:lvl5pPr>
            <a:lvl6pPr marL="2282581" indent="0">
              <a:buNone/>
              <a:defRPr sz="900"/>
            </a:lvl6pPr>
            <a:lvl7pPr marL="2739098" indent="0">
              <a:buNone/>
              <a:defRPr sz="900"/>
            </a:lvl7pPr>
            <a:lvl8pPr marL="3195615" indent="0">
              <a:buNone/>
              <a:defRPr sz="900"/>
            </a:lvl8pPr>
            <a:lvl9pPr marL="365213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fld id="{7396E46D-EC63-4014-AF7A-DE09839CE9DE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3"/>
            <a:ext cx="2895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3"/>
            <a:ext cx="2133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20200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302" tIns="45653" rIns="91302" bIns="45653"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302" tIns="45653" rIns="91302" bIns="45653"/>
          <a:lstStyle>
            <a:lvl1pPr marL="0" indent="0">
              <a:buNone/>
              <a:defRPr sz="3200"/>
            </a:lvl1pPr>
            <a:lvl2pPr marL="456516" indent="0">
              <a:buNone/>
              <a:defRPr sz="2800"/>
            </a:lvl2pPr>
            <a:lvl3pPr marL="913032" indent="0">
              <a:buNone/>
              <a:defRPr sz="2400"/>
            </a:lvl3pPr>
            <a:lvl4pPr marL="1369548" indent="0">
              <a:buNone/>
              <a:defRPr sz="2000"/>
            </a:lvl4pPr>
            <a:lvl5pPr marL="1826065" indent="0">
              <a:buNone/>
              <a:defRPr sz="2000"/>
            </a:lvl5pPr>
            <a:lvl6pPr marL="2282581" indent="0">
              <a:buNone/>
              <a:defRPr sz="2000"/>
            </a:lvl6pPr>
            <a:lvl7pPr marL="2739098" indent="0">
              <a:buNone/>
              <a:defRPr sz="2000"/>
            </a:lvl7pPr>
            <a:lvl8pPr marL="3195615" indent="0">
              <a:buNone/>
              <a:defRPr sz="2000"/>
            </a:lvl8pPr>
            <a:lvl9pPr marL="365213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302" tIns="45653" rIns="91302" bIns="45653"/>
          <a:lstStyle>
            <a:lvl1pPr marL="0" indent="0">
              <a:buNone/>
              <a:defRPr sz="1400"/>
            </a:lvl1pPr>
            <a:lvl2pPr marL="456516" indent="0">
              <a:buNone/>
              <a:defRPr sz="1200"/>
            </a:lvl2pPr>
            <a:lvl3pPr marL="913032" indent="0">
              <a:buNone/>
              <a:defRPr sz="1000"/>
            </a:lvl3pPr>
            <a:lvl4pPr marL="1369548" indent="0">
              <a:buNone/>
              <a:defRPr sz="900"/>
            </a:lvl4pPr>
            <a:lvl5pPr marL="1826065" indent="0">
              <a:buNone/>
              <a:defRPr sz="900"/>
            </a:lvl5pPr>
            <a:lvl6pPr marL="2282581" indent="0">
              <a:buNone/>
              <a:defRPr sz="900"/>
            </a:lvl6pPr>
            <a:lvl7pPr marL="2739098" indent="0">
              <a:buNone/>
              <a:defRPr sz="900"/>
            </a:lvl7pPr>
            <a:lvl8pPr marL="3195615" indent="0">
              <a:buNone/>
              <a:defRPr sz="900"/>
            </a:lvl8pPr>
            <a:lvl9pPr marL="365213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fld id="{2933B99C-FF0D-47A5-BCA4-323F2125EA47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3"/>
            <a:ext cx="2895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3"/>
            <a:ext cx="2133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8686138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 lIns="91302" tIns="45653" rIns="91302" bIns="4565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fld id="{0FC206CE-E25A-4F1B-B7EA-F1ED54EBEB39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3"/>
            <a:ext cx="2895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3"/>
            <a:ext cx="2133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20717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 lIns="91302" tIns="45653" rIns="91302" bIns="45653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 lIns="91302" tIns="45653" rIns="91302" bIns="4565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fld id="{01288B1C-EDB1-4DCE-A449-86EBF6383EEC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3"/>
            <a:ext cx="2895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3"/>
            <a:ext cx="2133600" cy="365125"/>
          </a:xfrm>
          <a:prstGeom prst="rect">
            <a:avLst/>
          </a:prstGeom>
        </p:spPr>
        <p:txBody>
          <a:bodyPr lIns="91302" tIns="45653" rIns="91302" bIns="45653"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5644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fld id="{3CA9DBBF-1605-4024-9A58-587115E091BA}" type="slidenum">
              <a:rPr lang="en-US" sz="1000" b="1" kern="1200">
                <a:solidFill>
                  <a:srgbClr val="000000"/>
                </a:solidFill>
                <a:latin typeface="Arial Narrow" pitchFamily="34" charset="0"/>
                <a:ea typeface="+mn-ea"/>
                <a:cs typeface="+mn-cs"/>
              </a:rPr>
              <a:pPr algn="l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kern="1200" dirty="0">
              <a:solidFill>
                <a:srgbClr val="000000"/>
              </a:solidFill>
              <a:latin typeface="Arial Narrow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302" tIns="45653" rIns="91302" bIns="45653"/>
          <a:lstStyle>
            <a:lvl1pPr marL="0" indent="0" algn="ctr">
              <a:buNone/>
              <a:defRPr/>
            </a:lvl1pPr>
            <a:lvl2pPr marL="456516" indent="0" algn="ctr">
              <a:buNone/>
              <a:defRPr/>
            </a:lvl2pPr>
            <a:lvl3pPr marL="913032" indent="0" algn="ctr">
              <a:buNone/>
              <a:defRPr/>
            </a:lvl3pPr>
            <a:lvl4pPr marL="1369548" indent="0" algn="ctr">
              <a:buNone/>
              <a:defRPr/>
            </a:lvl4pPr>
            <a:lvl5pPr marL="1826065" indent="0" algn="ctr">
              <a:buNone/>
              <a:defRPr/>
            </a:lvl5pPr>
            <a:lvl6pPr marL="2282581" indent="0" algn="ctr">
              <a:buNone/>
              <a:defRPr/>
            </a:lvl6pPr>
            <a:lvl7pPr marL="2739098" indent="0" algn="ctr">
              <a:buNone/>
              <a:defRPr/>
            </a:lvl7pPr>
            <a:lvl8pPr marL="3195615" indent="0" algn="ctr">
              <a:buNone/>
              <a:defRPr/>
            </a:lvl8pPr>
            <a:lvl9pPr marL="365213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540155-FFF5-477E-94EF-3A082D7B3A1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436375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475D06-D736-4364-8802-F008814B638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8768294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 lIns="91302" tIns="45653" rIns="91302" bIns="45653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 lIns="91302" tIns="45653" rIns="91302" bIns="45653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D7421A-E943-4B6D-A582-E6D40599F2A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3493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AF2452-97C0-4C02-87A5-A983B5EDD43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51354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9DBBF-1605-4024-9A58-587115E091B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128976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AD164F-B1B6-41E3-A08A-0DCC26EC15E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499106"/>
      </p:ext>
    </p:extLst>
  </p:cSld>
  <p:clrMapOvr>
    <a:masterClrMapping/>
  </p:clrMapOvr>
  <p:transition/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302" tIns="45653" rIns="91302" bIns="45653"/>
          <a:lstStyle>
            <a:lvl1pPr marL="0" indent="0" algn="ctr">
              <a:buNone/>
              <a:defRPr/>
            </a:lvl1pPr>
            <a:lvl2pPr marL="456516" indent="0" algn="ctr">
              <a:buNone/>
              <a:defRPr/>
            </a:lvl2pPr>
            <a:lvl3pPr marL="913032" indent="0" algn="ctr">
              <a:buNone/>
              <a:defRPr/>
            </a:lvl3pPr>
            <a:lvl4pPr marL="1369548" indent="0" algn="ctr">
              <a:buNone/>
              <a:defRPr/>
            </a:lvl4pPr>
            <a:lvl5pPr marL="1826065" indent="0" algn="ctr">
              <a:buNone/>
              <a:defRPr/>
            </a:lvl5pPr>
            <a:lvl6pPr marL="2282581" indent="0" algn="ctr">
              <a:buNone/>
              <a:defRPr/>
            </a:lvl6pPr>
            <a:lvl7pPr marL="2739098" indent="0" algn="ctr">
              <a:buNone/>
              <a:defRPr/>
            </a:lvl7pPr>
            <a:lvl8pPr marL="3195615" indent="0" algn="ctr">
              <a:buNone/>
              <a:defRPr/>
            </a:lvl8pPr>
            <a:lvl9pPr marL="365213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540155-FFF5-477E-94EF-3A082D7B3A1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652006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475D06-D736-4364-8802-F008814B638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2759090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 lIns="91302" tIns="45653" rIns="91302" bIns="45653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 lIns="91302" tIns="45653" rIns="91302" bIns="45653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D7421A-E943-4B6D-A582-E6D40599F2A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1702716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AF2452-97C0-4C02-87A5-A983B5EDD43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4807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fld id="{17AD164F-B1B6-41E3-A08A-0DCC26EC15E8}" type="slidenum">
              <a:rPr lang="en-US" sz="1000" b="1" kern="1200">
                <a:solidFill>
                  <a:srgbClr val="000000"/>
                </a:solidFill>
                <a:latin typeface="Arial Narrow" pitchFamily="34" charset="0"/>
                <a:ea typeface="+mn-ea"/>
                <a:cs typeface="+mn-cs"/>
              </a:rPr>
              <a:pPr algn="l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kern="1200" dirty="0">
              <a:solidFill>
                <a:srgbClr val="000000"/>
              </a:solidFill>
              <a:latin typeface="Arial Narrow" pitchFamily="34" charset="0"/>
              <a:ea typeface="+mn-ea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9DBBF-1605-4024-9A58-587115E091B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9232364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302" tIns="45653" rIns="91302" bIns="45653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 lIns="91302" tIns="45653" rIns="91302" bIns="4565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AD164F-B1B6-41E3-A08A-0DCC26EC15E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902001"/>
      </p:ext>
    </p:extLst>
  </p:cSld>
  <p:clrMapOvr>
    <a:masterClrMapping/>
  </p:clrMapOvr>
  <p:transition/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3459163" y="1841500"/>
            <a:ext cx="2225675" cy="222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8713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046922"/>
            <a:ext cx="7772400" cy="675860"/>
          </a:xfrm>
          <a:prstGeom prst="rect">
            <a:avLst/>
          </a:prstGeom>
        </p:spPr>
        <p:txBody>
          <a:bodyPr anchor="ctr"/>
          <a:lstStyle>
            <a:lvl1pPr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8713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271749"/>
            <a:ext cx="6400800" cy="1559206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200" b="1"/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47626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6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227" y="1245704"/>
            <a:ext cx="7911547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8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/>
            </a:lvl2pPr>
            <a:lvl3pPr marL="466725" indent="-241300">
              <a:buFont typeface="Wingdings" pitchFamily="2" charset="2"/>
              <a:buChar char="§"/>
              <a:defRPr/>
            </a:lvl3pPr>
            <a:lvl4pPr marL="685800" indent="-228600">
              <a:buFont typeface="Arial" pitchFamily="34" charset="0"/>
              <a:buChar char="•"/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A0122921-697D-412F-A59E-DF274E42A623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D9BDCB59-3755-4A3F-8F14-125F2E2838B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363331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6111" y="1235266"/>
            <a:ext cx="3915202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6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 sz="1400"/>
            </a:lvl2pPr>
            <a:lvl3pPr marL="463550" indent="-231775">
              <a:buFont typeface="Wingdings" pitchFamily="2" charset="2"/>
              <a:buChar char="§"/>
              <a:defRPr sz="1200"/>
            </a:lvl3pPr>
            <a:lvl4pPr marL="688975" indent="-234950"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3"/>
          </p:nvPr>
        </p:nvSpPr>
        <p:spPr>
          <a:xfrm>
            <a:off x="4624757" y="1235266"/>
            <a:ext cx="3915202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6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 sz="1400"/>
            </a:lvl2pPr>
            <a:lvl3pPr marL="463550" indent="-231775">
              <a:buFont typeface="Wingdings" pitchFamily="2" charset="2"/>
              <a:buChar char="§"/>
              <a:defRPr sz="1200"/>
            </a:lvl3pPr>
            <a:lvl4pPr marL="688975" indent="-234950"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4"/>
          </p:nvPr>
        </p:nvSpPr>
        <p:spPr/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CC5FB05-B465-47FA-A448-7EEE53A492A5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513B6E1E-7A03-444D-BCEB-40FB64A7A45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3007442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5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534F3E99-A620-49D5-983C-E0A3D4E8A18F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7BDD925F-8D9D-414C-9AE2-7178E6A5F0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324984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5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19150" y="2930155"/>
            <a:ext cx="7505700" cy="792162"/>
          </a:xfrm>
          <a:prstGeom prst="rect">
            <a:avLst/>
          </a:prstGeom>
        </p:spPr>
        <p:txBody>
          <a:bodyPr anchor="ctr"/>
          <a:lstStyle>
            <a:lvl1pPr algn="ctr"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A26D9B9D-819A-4D83-AE9C-9F15A6329DD2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671C1C66-0127-415A-BC7B-0602C77CF61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10187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E3EFD4-A3E9-4961-9CC2-8DDCEAA6B8F1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ED9110-2D4D-4B1C-9EDC-AC75BA3308D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1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4460249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540155-FFF5-477E-94EF-3A082D7B3A1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8806855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475D06-D736-4364-8802-F008814B638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415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1186" y="0"/>
            <a:ext cx="9145186" cy="1230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</p:pic>
    </p:spTree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D7421A-E943-4B6D-A582-E6D40599F2A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703168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AF2452-97C0-4C02-87A5-A983B5EDD43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193718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9DBBF-1605-4024-9A58-587115E091B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662340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AD164F-B1B6-41E3-A08A-0DCC26EC15E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285060"/>
      </p:ext>
    </p:extLst>
  </p:cSld>
  <p:clrMapOvr>
    <a:masterClrMapping/>
  </p:clrMapOvr>
  <p:transition/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0"/>
          <p:cNvSpPr>
            <a:spLocks noGrp="1"/>
          </p:cNvSpPr>
          <p:nvPr>
            <p:ph sz="quarter" idx="12"/>
          </p:nvPr>
        </p:nvSpPr>
        <p:spPr bwMode="gray">
          <a:xfrm>
            <a:off x="381000" y="990600"/>
            <a:ext cx="8330184" cy="48828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22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kumimoji="0" lang="en-US" sz="20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  <a:lvl2pPr marL="174625" marR="0" indent="-173038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20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5pPr>
            <a:lvl6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itle Placeholder 10"/>
          <p:cNvSpPr>
            <a:spLocks noGrp="1"/>
          </p:cNvSpPr>
          <p:nvPr>
            <p:ph type="title"/>
          </p:nvPr>
        </p:nvSpPr>
        <p:spPr bwMode="gray">
          <a:xfrm>
            <a:off x="685800" y="152400"/>
            <a:ext cx="7696200" cy="4708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631984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5681484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912502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A56A477-D224-4589-BB8A-03FD72313440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04150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B2725AC-5CA0-4179-BB40-F6BE75B1BF88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277994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F2D91D9-5756-4128-A2C6-DA74E91FC5C8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39628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677804-CA34-4AB0-B2DD-11C4F5E0AAA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2E35A45-3ED0-4931-AE66-582CE74C0E64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82680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23B46F4-5304-406D-9F4B-27404081DC69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08295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CA1039-9651-4C8C-9508-3CBD6F5C3546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781281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CFB7A09-2A71-4ACE-A551-96367B1F7EE8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263896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B5DF770-87BB-4A56-B79A-1434E0F284A4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790505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A3C64D1-C82E-4C35-A82F-34F1FA256BDF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393782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86" y="0"/>
            <a:ext cx="9145186" cy="1230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4042943382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677804-CA34-4AB0-B2DD-11C4F5E0AAA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19068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206DB5-C223-4E9C-BD08-4F95DE83CF3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3710390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2B12B-4D85-491A-B721-4F2C51D826E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932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206DB5-C223-4E9C-BD08-4F95DE83CF3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D38FD2-C195-47F2-A019-BB07EA1940C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027503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6ABEA5-4B6E-4C56-8794-6DAA0ADE21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1945609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622572-8D75-492F-B1CB-740B9D8CFF4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71646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7024493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0300599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3372149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8EBE517-FC04-4CF8-A15A-F2D821773316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7180651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A6D64B0-2FC6-436A-869D-1D95E927E27B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5135690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2A0137-8FDF-4DA1-AF5F-6AE688B1BA20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055591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AC3CF1-ABC0-4B54-AB41-6DFC3616C725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8125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2B12B-4D85-491A-B721-4F2C51D826E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FF7E40E-0C4F-405F-8F63-1B4CC517568F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674498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396CFE6-3F53-44A5-BBCD-DB25DAE8D49D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69041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23AEF91-D248-494F-B6B6-B1EC5E86A8B2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269929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E2A4134-04E3-4DF0-81E9-B7AC84816F6C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7841547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7491A3B-B545-414D-A4F0-A329EDB12A8D}" type="datetime1">
              <a:rPr lang="en-US" smtClean="0">
                <a:solidFill>
                  <a:prstClr val="black"/>
                </a:solidFill>
              </a:rPr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31098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800" y="228600"/>
            <a:ext cx="7239000" cy="914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953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51464" y="6575952"/>
            <a:ext cx="533400" cy="247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 smtClean="0">
                <a:latin typeface="+mn-lt"/>
              </a:defRPr>
            </a:lvl1pPr>
          </a:lstStyle>
          <a:p>
            <a:pPr algn="r">
              <a:defRPr/>
            </a:pPr>
            <a:fld id="{6248A81B-273D-4B3F-AEA7-75D6B4732AE9}" type="slidenum">
              <a:rPr lang="en-US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470726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86" y="0"/>
            <a:ext cx="9145186" cy="1230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3764235993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677804-CA34-4AB0-B2DD-11C4F5E0AAA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846461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206DB5-C223-4E9C-BD08-4F95DE83CF3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870976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2B12B-4D85-491A-B721-4F2C51D826E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13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206DB5-C223-4E9C-BD08-4F95DE83CF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D38FD2-C195-47F2-A019-BB07EA1940C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D38FD2-C195-47F2-A019-BB07EA1940C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9321439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6ABEA5-4B6E-4C56-8794-6DAA0ADE21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9054236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622572-8D75-492F-B1CB-740B9D8CFF4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2171846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86" y="0"/>
            <a:ext cx="9145186" cy="1230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1555346863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677804-CA34-4AB0-B2DD-11C4F5E0AAA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5057943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206DB5-C223-4E9C-BD08-4F95DE83CF3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76005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2B12B-4D85-491A-B721-4F2C51D826E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1174646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D38FD2-C195-47F2-A019-BB07EA1940C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490523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6ABEA5-4B6E-4C56-8794-6DAA0ADE21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9434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622572-8D75-492F-B1CB-740B9D8CFF4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186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6ABEA5-4B6E-4C56-8794-6DAA0ADE21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586935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86" y="0"/>
            <a:ext cx="9145186" cy="1230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3989566947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677804-CA34-4AB0-B2DD-11C4F5E0AAA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325872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206DB5-C223-4E9C-BD08-4F95DE83CF3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426743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2B12B-4D85-491A-B721-4F2C51D826E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7857391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D38FD2-C195-47F2-A019-BB07EA1940C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053316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6ABEA5-4B6E-4C56-8794-6DAA0ADE21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5838886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622572-8D75-492F-B1CB-740B9D8CFF4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082750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4578979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3459163" y="1841500"/>
            <a:ext cx="2225675" cy="222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8713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046922"/>
            <a:ext cx="7772400" cy="675860"/>
          </a:xfrm>
          <a:prstGeom prst="rect">
            <a:avLst/>
          </a:prstGeom>
        </p:spPr>
        <p:txBody>
          <a:bodyPr anchor="ctr"/>
          <a:lstStyle>
            <a:lvl1pPr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8713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271749"/>
            <a:ext cx="6400800" cy="1559206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200" b="1"/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49374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622572-8D75-492F-B1CB-740B9D8CFF4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6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227" y="1245704"/>
            <a:ext cx="7911547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8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/>
            </a:lvl2pPr>
            <a:lvl3pPr marL="466725" indent="-241300">
              <a:buFont typeface="Wingdings" pitchFamily="2" charset="2"/>
              <a:buChar char="§"/>
              <a:defRPr/>
            </a:lvl3pPr>
            <a:lvl4pPr marL="685800" indent="-228600">
              <a:buFont typeface="Arial" pitchFamily="34" charset="0"/>
              <a:buChar char="•"/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CD5DC858-933B-4FE8-B00B-CFCC0C3E4B28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D9BDCB59-3755-4A3F-8F14-125F2E2838B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5707133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6111" y="1235266"/>
            <a:ext cx="3915202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6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 sz="1400"/>
            </a:lvl2pPr>
            <a:lvl3pPr marL="463550" indent="-231775">
              <a:buFont typeface="Wingdings" pitchFamily="2" charset="2"/>
              <a:buChar char="§"/>
              <a:defRPr sz="1200"/>
            </a:lvl3pPr>
            <a:lvl4pPr marL="688975" indent="-234950"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3"/>
          </p:nvPr>
        </p:nvSpPr>
        <p:spPr>
          <a:xfrm>
            <a:off x="4624757" y="1235266"/>
            <a:ext cx="3915202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6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 sz="1400"/>
            </a:lvl2pPr>
            <a:lvl3pPr marL="463550" indent="-231775">
              <a:buFont typeface="Wingdings" pitchFamily="2" charset="2"/>
              <a:buChar char="§"/>
              <a:defRPr sz="1200"/>
            </a:lvl3pPr>
            <a:lvl4pPr marL="688975" indent="-234950"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4"/>
          </p:nvPr>
        </p:nvSpPr>
        <p:spPr/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41B2CA6-B743-4004-A6C4-91933087DE3A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513B6E1E-7A03-444D-BCEB-40FB64A7A45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592720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5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1DD455A1-50AF-4ACB-9CBC-71A091453CD3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7BDD925F-8D9D-414C-9AE2-7178E6A5F0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2499919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5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19150" y="2930155"/>
            <a:ext cx="7505700" cy="792162"/>
          </a:xfrm>
          <a:prstGeom prst="rect">
            <a:avLst/>
          </a:prstGeom>
        </p:spPr>
        <p:txBody>
          <a:bodyPr anchor="ctr"/>
          <a:lstStyle>
            <a:lvl1pPr algn="ctr"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70B1CBA8-3444-47D7-8AEB-31E705E6AD03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671C1C66-0127-415A-BC7B-0602C77CF61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284048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D1E3A8-0439-48D2-8075-C30046CE1664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ED9110-2D4D-4B1C-9EDC-AC75BA3308D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611633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540155-FFF5-477E-94EF-3A082D7B3A1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053887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475D06-D736-4364-8802-F008814B638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717746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D7421A-E943-4B6D-A582-E6D40599F2A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8746968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AF2452-97C0-4C02-87A5-A983B5EDD43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698921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1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38589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9DBBF-1605-4024-9A58-587115E091B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18961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9F3D6B-9CE2-4CBE-AAD7-A690D665B4C3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8872AA-3070-4B50-BAAF-A9CFD493C44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1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1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9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9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AD164F-B1B6-41E3-A08A-0DCC26EC15E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873914"/>
      </p:ext>
    </p:extLst>
  </p:cSld>
  <p:clrMapOvr>
    <a:masterClrMapping/>
  </p:clrMapOvr>
  <p:transition/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0"/>
          <p:cNvSpPr>
            <a:spLocks noGrp="1"/>
          </p:cNvSpPr>
          <p:nvPr>
            <p:ph sz="quarter" idx="12"/>
          </p:nvPr>
        </p:nvSpPr>
        <p:spPr bwMode="gray">
          <a:xfrm>
            <a:off x="381000" y="990600"/>
            <a:ext cx="8330184" cy="48828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22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kumimoji="0" lang="en-US" sz="20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1pPr>
            <a:lvl2pPr marL="174625" marR="0" indent="-173038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20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5pPr>
            <a:lvl6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itle Placeholder 10"/>
          <p:cNvSpPr>
            <a:spLocks noGrp="1"/>
          </p:cNvSpPr>
          <p:nvPr>
            <p:ph type="title"/>
          </p:nvPr>
        </p:nvSpPr>
        <p:spPr bwMode="gray">
          <a:xfrm>
            <a:off x="685800" y="152401"/>
            <a:ext cx="7696200" cy="12187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1115631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800600"/>
            <a:ext cx="3657600" cy="54864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000"/>
              </a:lnSpc>
              <a:spcBef>
                <a:spcPts val="0"/>
              </a:spcBef>
              <a:buNone/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Date: 04.05.2014</a:t>
            </a:r>
          </a:p>
          <a:p>
            <a:r>
              <a:rPr lang="en-US" dirty="0" smtClean="0"/>
              <a:t>Presented by First </a:t>
            </a:r>
            <a:r>
              <a:rPr lang="en-US" dirty="0" err="1" smtClean="0"/>
              <a:t>Lastnam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295400" y="6263640"/>
            <a:ext cx="7467600" cy="611172"/>
          </a:xfrm>
          <a:prstGeom prst="rect">
            <a:avLst/>
          </a:prstGeom>
        </p:spPr>
        <p:txBody>
          <a:bodyPr/>
          <a:lstStyle>
            <a:lvl1pPr algn="l"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7047247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0" y="274640"/>
            <a:ext cx="6858000" cy="776922"/>
          </a:xfrm>
          <a:prstGeom prst="rect">
            <a:avLst/>
          </a:prstGeom>
        </p:spPr>
        <p:txBody>
          <a:bodyPr/>
          <a:lstStyle>
            <a:lvl1pPr algn="l">
              <a:defRPr sz="3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325880"/>
            <a:ext cx="7772400" cy="480028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63642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Arial Narrow" panose="020B0606020202030204" pitchFamily="34" charset="0"/>
              </a:defRPr>
            </a:lvl1pPr>
          </a:lstStyle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8E6B4DDA-C30B-4BFF-861C-4BF350FDF77F}" type="slidenum">
              <a:rPr lang="en-US" sz="1800" b="0" smtClean="0">
                <a:solidFill>
                  <a:prstClr val="black"/>
                </a:solidFill>
              </a:rPr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800" b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5699887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0" y="228600"/>
            <a:ext cx="7086600" cy="548640"/>
          </a:xfrm>
          <a:prstGeom prst="rect">
            <a:avLst/>
          </a:prstGeom>
        </p:spPr>
        <p:txBody>
          <a:bodyPr anchor="t"/>
          <a:lstStyle>
            <a:lvl1pPr algn="l">
              <a:defRPr sz="2333" b="0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63642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Arial Narrow" panose="020B0606020202030204" pitchFamily="34" charset="0"/>
              </a:defRPr>
            </a:lvl1pPr>
          </a:lstStyle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378F9958-02CF-44E9-AAF3-DDDDE063D447}" type="slidenum">
              <a:rPr lang="en-US" sz="1800" b="0" smtClean="0">
                <a:solidFill>
                  <a:prstClr val="black"/>
                </a:solidFill>
              </a:rPr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800" b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871783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333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6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333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6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534400" cy="548640"/>
          </a:xfrm>
          <a:prstGeom prst="rect">
            <a:avLst/>
          </a:prstGeom>
        </p:spPr>
        <p:txBody>
          <a:bodyPr anchor="t"/>
          <a:lstStyle>
            <a:lvl1pPr algn="l">
              <a:defRPr sz="2333" b="0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63642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Arial Narrow" panose="020B0606020202030204" pitchFamily="34" charset="0"/>
              </a:defRPr>
            </a:lvl1pPr>
          </a:lstStyle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378F9958-02CF-44E9-AAF3-DDDDE063D447}" type="slidenum">
              <a:rPr lang="en-US" sz="1800" b="0" smtClean="0">
                <a:solidFill>
                  <a:prstClr val="black"/>
                </a:solidFill>
              </a:rPr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800" b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817536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800600"/>
            <a:ext cx="3657600" cy="54864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Date: 04.05.2014</a:t>
            </a:r>
          </a:p>
          <a:p>
            <a:r>
              <a:rPr lang="en-US" dirty="0" smtClean="0"/>
              <a:t>Presented by First </a:t>
            </a:r>
            <a:r>
              <a:rPr lang="en-US" dirty="0" err="1" smtClean="0"/>
              <a:t>Lastnam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295400" y="6263640"/>
            <a:ext cx="7467600" cy="611172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889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3664" y="230429"/>
            <a:ext cx="6858000" cy="776922"/>
          </a:xfrm>
          <a:prstGeom prst="rect">
            <a:avLst/>
          </a:prstGeom>
        </p:spPr>
        <p:txBody>
          <a:bodyPr/>
          <a:lstStyle>
            <a:lvl1pPr algn="l"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325880"/>
            <a:ext cx="7772400" cy="480028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63641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8E6B4DDA-C30B-4BFF-861C-4BF350FDF77F}" type="slidenum">
              <a:rPr lang="en-US" sz="1800" b="0" smtClean="0">
                <a:solidFill>
                  <a:prstClr val="black"/>
                </a:solidFill>
                <a:latin typeface="Arial"/>
              </a:rPr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57406894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83664" y="230429"/>
            <a:ext cx="7086600" cy="548640"/>
          </a:xfrm>
          <a:prstGeom prst="rect">
            <a:avLst/>
          </a:prstGeom>
        </p:spPr>
        <p:txBody>
          <a:bodyPr anchor="t"/>
          <a:lstStyle>
            <a:lvl1pPr algn="l">
              <a:defRPr sz="3200" b="0" cap="none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63641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378F9958-02CF-44E9-AAF3-DDDDE063D447}" type="slidenum">
              <a:rPr lang="en-US" sz="1800" b="0" smtClean="0">
                <a:solidFill>
                  <a:prstClr val="black"/>
                </a:solidFill>
                <a:latin typeface="Arial"/>
              </a:rPr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0196842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28600"/>
            <a:ext cx="8534400" cy="548640"/>
          </a:xfrm>
          <a:prstGeom prst="rect">
            <a:avLst/>
          </a:prstGeom>
        </p:spPr>
        <p:txBody>
          <a:bodyPr anchor="t"/>
          <a:lstStyle>
            <a:lvl1pPr algn="l">
              <a:defRPr sz="3200" b="0" cap="none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63641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378F9958-02CF-44E9-AAF3-DDDDE063D447}" type="slidenum">
              <a:rPr lang="en-US" sz="1800" b="0" smtClean="0">
                <a:solidFill>
                  <a:prstClr val="black"/>
                </a:solidFill>
                <a:latin typeface="Arial"/>
              </a:rPr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800" b="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6935352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81D5F6-4E7D-4E7E-B345-FD69321BC994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124462-D9C3-408A-B99B-E051DF9587D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3459163" y="1841500"/>
            <a:ext cx="2225675" cy="222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8713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046922"/>
            <a:ext cx="7772400" cy="675860"/>
          </a:xfrm>
          <a:prstGeom prst="rect">
            <a:avLst/>
          </a:prstGeom>
        </p:spPr>
        <p:txBody>
          <a:bodyPr anchor="ctr"/>
          <a:lstStyle>
            <a:lvl1pPr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8713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271749"/>
            <a:ext cx="6400800" cy="1559206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200" b="1"/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1056584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6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227" y="1245704"/>
            <a:ext cx="7911547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8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/>
            </a:lvl2pPr>
            <a:lvl3pPr marL="466725" indent="-241300">
              <a:buFont typeface="Wingdings" pitchFamily="2" charset="2"/>
              <a:buChar char="§"/>
              <a:defRPr/>
            </a:lvl3pPr>
            <a:lvl4pPr marL="685800" indent="-228600">
              <a:buFont typeface="Arial" pitchFamily="34" charset="0"/>
              <a:buChar char="•"/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27CBD96B-083B-4A0B-BCB4-C1D69941E25D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D9BDCB59-3755-4A3F-8F14-125F2E2838B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0102843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6111" y="1235266"/>
            <a:ext cx="3915202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6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 sz="1400"/>
            </a:lvl2pPr>
            <a:lvl3pPr marL="463550" indent="-231775">
              <a:buFont typeface="Wingdings" pitchFamily="2" charset="2"/>
              <a:buChar char="§"/>
              <a:defRPr sz="1200"/>
            </a:lvl3pPr>
            <a:lvl4pPr marL="688975" indent="-234950"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3"/>
          </p:nvPr>
        </p:nvSpPr>
        <p:spPr>
          <a:xfrm>
            <a:off x="4624757" y="1235266"/>
            <a:ext cx="3915202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6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 sz="1400"/>
            </a:lvl2pPr>
            <a:lvl3pPr marL="463550" indent="-231775">
              <a:buFont typeface="Wingdings" pitchFamily="2" charset="2"/>
              <a:buChar char="§"/>
              <a:defRPr sz="1200"/>
            </a:lvl3pPr>
            <a:lvl4pPr marL="688975" indent="-234950"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4"/>
          </p:nvPr>
        </p:nvSpPr>
        <p:spPr/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EF3A493-F75D-4307-A1E7-044085CD193E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513B6E1E-7A03-444D-BCEB-40FB64A7A45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3574907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5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5423F8F9-FD25-488C-BC0F-122639C58D46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7BDD925F-8D9D-414C-9AE2-7178E6A5F0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020121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5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19150" y="2930155"/>
            <a:ext cx="7505700" cy="792162"/>
          </a:xfrm>
          <a:prstGeom prst="rect">
            <a:avLst/>
          </a:prstGeom>
        </p:spPr>
        <p:txBody>
          <a:bodyPr anchor="ctr"/>
          <a:lstStyle>
            <a:lvl1pPr algn="ctr"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1E6BD8A2-98E8-42AC-A76C-96E4853F016D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671C1C66-0127-415A-BC7B-0602C77CF61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837168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F72D6A-131B-4AD2-BB45-A813E885F063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ED9110-2D4D-4B1C-9EDC-AC75BA3308D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554213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010E3-3043-463B-A886-79F754037FA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60AF-5DB2-4177-B971-D8B5028A0E1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589004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010E3-3043-463B-A886-79F754037FA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60AF-5DB2-4177-B971-D8B5028A0E1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1892363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010E3-3043-463B-A886-79F754037FA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60AF-5DB2-4177-B971-D8B5028A0E1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623693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010E3-3043-463B-A886-79F754037FA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60AF-5DB2-4177-B971-D8B5028A0E1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512328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98FFBC-EB22-4AE2-ADB3-96FB6309C7B8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CD7AFF-2B26-4811-A08F-6B1D1AA4222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4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4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010E3-3043-463B-A886-79F754037FA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60AF-5DB2-4177-B971-D8B5028A0E1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564671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010E3-3043-463B-A886-79F754037FA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60AF-5DB2-4177-B971-D8B5028A0E1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692449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010E3-3043-463B-A886-79F754037FA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60AF-5DB2-4177-B971-D8B5028A0E1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2114662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1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010E3-3043-463B-A886-79F754037FA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60AF-5DB2-4177-B971-D8B5028A0E1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103635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010E3-3043-463B-A886-79F754037FA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60AF-5DB2-4177-B971-D8B5028A0E1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64678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010E3-3043-463B-A886-79F754037FA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60AF-5DB2-4177-B971-D8B5028A0E1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521732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010E3-3043-463B-A886-79F754037FA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60AF-5DB2-4177-B971-D8B5028A0E1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481010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288A1-15B4-4EAA-9D17-C7859744469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05A8A-096A-4F46-954E-2CD7984D432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489184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288A1-15B4-4EAA-9D17-C7859744469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05A8A-096A-4F46-954E-2CD7984D432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9356237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288A1-15B4-4EAA-9D17-C7859744469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05A8A-096A-4F46-954E-2CD7984D432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5692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76373A-CA50-4DBE-AB59-AAEAF8970754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2AB8FD-2A8D-448D-B871-D7EC828B390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288A1-15B4-4EAA-9D17-C7859744469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05A8A-096A-4F46-954E-2CD7984D432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350273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288A1-15B4-4EAA-9D17-C7859744469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05A8A-096A-4F46-954E-2CD7984D432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599711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288A1-15B4-4EAA-9D17-C7859744469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05A8A-096A-4F46-954E-2CD7984D432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0241911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288A1-15B4-4EAA-9D17-C7859744469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05A8A-096A-4F46-954E-2CD7984D432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740727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288A1-15B4-4EAA-9D17-C7859744469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05A8A-096A-4F46-954E-2CD7984D432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6914704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288A1-15B4-4EAA-9D17-C7859744469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05A8A-096A-4F46-954E-2CD7984D432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3835782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288A1-15B4-4EAA-9D17-C7859744469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05A8A-096A-4F46-954E-2CD7984D432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567793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288A1-15B4-4EAA-9D17-C7859744469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905A8A-096A-4F46-954E-2CD7984D432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92724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800600"/>
            <a:ext cx="3657600" cy="54864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Date: 04.05.2014</a:t>
            </a:r>
          </a:p>
          <a:p>
            <a:r>
              <a:rPr lang="en-US" dirty="0" smtClean="0"/>
              <a:t>Presented by First </a:t>
            </a:r>
            <a:r>
              <a:rPr lang="en-US" dirty="0" err="1" smtClean="0"/>
              <a:t>Lastnam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295400" y="6263640"/>
            <a:ext cx="7467600" cy="611172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726928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0" y="274639"/>
            <a:ext cx="6858000" cy="776922"/>
          </a:xfrm>
          <a:prstGeom prst="rect">
            <a:avLst/>
          </a:prstGeom>
        </p:spPr>
        <p:txBody>
          <a:bodyPr/>
          <a:lstStyle>
            <a:lvl1pPr algn="l">
              <a:defRPr sz="3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325880"/>
            <a:ext cx="7772400" cy="480028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63641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Arial Narrow" panose="020B0606020202030204" pitchFamily="34" charset="0"/>
              </a:defRPr>
            </a:lvl1pPr>
          </a:lstStyle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8E6B4DDA-C30B-4BFF-861C-4BF350FDF77F}" type="slidenum">
              <a:rPr lang="en-US" sz="1800" b="0" smtClean="0">
                <a:solidFill>
                  <a:prstClr val="black"/>
                </a:solidFill>
              </a:rPr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800" b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8562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B74E89-B094-4D45-A884-4A5722E7FD25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AAEF99-7B83-40E2-B062-13C8C813C27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0" y="228600"/>
            <a:ext cx="7086600" cy="548640"/>
          </a:xfrm>
          <a:prstGeom prst="rect">
            <a:avLst/>
          </a:prstGeom>
        </p:spPr>
        <p:txBody>
          <a:bodyPr anchor="t"/>
          <a:lstStyle>
            <a:lvl1pPr algn="l">
              <a:defRPr sz="2800" b="0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63641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Arial Narrow" panose="020B0606020202030204" pitchFamily="34" charset="0"/>
              </a:defRPr>
            </a:lvl1pPr>
          </a:lstStyle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378F9958-02CF-44E9-AAF3-DDDDE063D447}" type="slidenum">
              <a:rPr lang="en-US" sz="1800" b="0" smtClean="0">
                <a:solidFill>
                  <a:prstClr val="black"/>
                </a:solidFill>
              </a:rPr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800" b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2003715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534400" cy="548640"/>
          </a:xfrm>
          <a:prstGeom prst="rect">
            <a:avLst/>
          </a:prstGeom>
        </p:spPr>
        <p:txBody>
          <a:bodyPr anchor="t"/>
          <a:lstStyle>
            <a:lvl1pPr algn="l">
              <a:defRPr sz="2800" b="0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63641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Arial Narrow" panose="020B0606020202030204" pitchFamily="34" charset="0"/>
              </a:defRPr>
            </a:lvl1pPr>
          </a:lstStyle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378F9958-02CF-44E9-AAF3-DDDDE063D447}" type="slidenum">
              <a:rPr lang="en-US" sz="1800" b="0" smtClean="0">
                <a:solidFill>
                  <a:prstClr val="black"/>
                </a:solidFill>
              </a:rPr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800" b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446036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934200" y="6534150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8562427-F60B-4994-8E29-F263415B979C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940635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7188446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7484668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A56A477-D224-4589-BB8A-03FD72313440}" type="datetime1">
              <a:rPr lang="en-US" smtClean="0">
                <a:solidFill>
                  <a:prstClr val="black"/>
                </a:solidFill>
              </a:rPr>
              <a:pPr/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36851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B2725AC-5CA0-4179-BB40-F6BE75B1BF88}" type="datetime1">
              <a:rPr lang="en-US" smtClean="0">
                <a:solidFill>
                  <a:prstClr val="black"/>
                </a:solidFill>
              </a:rPr>
              <a:pPr/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6305856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F2D91D9-5756-4128-A2C6-DA74E91FC5C8}" type="datetime1">
              <a:rPr lang="en-US" smtClean="0">
                <a:solidFill>
                  <a:prstClr val="black"/>
                </a:solidFill>
              </a:rPr>
              <a:pPr/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3258079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2E35A45-3ED0-4931-AE66-582CE74C0E64}" type="datetime1">
              <a:rPr lang="en-US" smtClean="0">
                <a:solidFill>
                  <a:prstClr val="black"/>
                </a:solidFill>
              </a:rPr>
              <a:pPr/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732216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23B46F4-5304-406D-9F4B-27404081DC69}" type="datetime1">
              <a:rPr lang="en-US" smtClean="0">
                <a:solidFill>
                  <a:prstClr val="black"/>
                </a:solidFill>
              </a:rPr>
              <a:pPr/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823684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E42ACD-9B02-4E2E-81E7-63FEF0698204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1B3122-E59B-4A21-9AF0-A42C84785E9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9CA1039-9651-4C8C-9508-3CBD6F5C3546}" type="datetime1">
              <a:rPr lang="en-US" smtClean="0">
                <a:solidFill>
                  <a:prstClr val="black"/>
                </a:solidFill>
              </a:rPr>
              <a:pPr/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2092720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CFB7A09-2A71-4ACE-A551-96367B1F7EE8}" type="datetime1">
              <a:rPr lang="en-US" smtClean="0">
                <a:solidFill>
                  <a:prstClr val="black"/>
                </a:solidFill>
              </a:rPr>
              <a:pPr/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9931499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B5DF770-87BB-4A56-B79A-1434E0F284A4}" type="datetime1">
              <a:rPr lang="en-US" smtClean="0">
                <a:solidFill>
                  <a:prstClr val="black"/>
                </a:solidFill>
              </a:rPr>
              <a:pPr/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505453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A3C64D1-C82E-4C35-A82F-34F1FA256BDF}" type="datetime1">
              <a:rPr lang="en-US" smtClean="0">
                <a:solidFill>
                  <a:prstClr val="black"/>
                </a:solidFill>
              </a:rPr>
              <a:pPr/>
              <a:t>5/24/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C45F7F-0CA6-445C-BA80-C4023CB23D0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570805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12481" y="6629400"/>
            <a:ext cx="731520" cy="228600"/>
          </a:xfrm>
          <a:prstGeom prst="rect">
            <a:avLst/>
          </a:prstGeom>
        </p:spPr>
        <p:txBody>
          <a:bodyPr anchor="ctr"/>
          <a:lstStyle>
            <a:lvl1pPr algn="r">
              <a:defRPr sz="810">
                <a:solidFill>
                  <a:schemeClr val="bg1"/>
                </a:solidFill>
              </a:defRPr>
            </a:lvl1pPr>
          </a:lstStyle>
          <a:p>
            <a:fld id="{378F9958-02CF-44E9-AAF3-DDDDE063D44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>
            <p:extLst/>
          </p:nvPr>
        </p:nvGraphicFramePr>
        <p:xfrm>
          <a:off x="251460" y="666718"/>
          <a:ext cx="8641084" cy="5943600"/>
        </p:xfrm>
        <a:graphic>
          <a:graphicData uri="http://schemas.openxmlformats.org/drawingml/2006/table">
            <a:tbl>
              <a:tblPr firstRow="1" bandRow="1"/>
              <a:tblGrid>
                <a:gridCol w="10705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05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705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050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05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7050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7050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14752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594360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9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6" marR="6857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rtl="0"/>
                      <a:r>
                        <a:rPr lang="en-US" sz="16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0</a:t>
                      </a:r>
                      <a:endParaRPr lang="en-US" sz="1400" b="1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76" marR="68576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1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6" marR="68576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2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6" marR="68576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3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6" marR="68576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4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6" marR="68576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6" marR="68576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6" marR="68576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 userDrawn="1"/>
        </p:nvSpPr>
        <p:spPr>
          <a:xfrm>
            <a:off x="251460" y="242602"/>
            <a:ext cx="8641081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kern="0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IDLY EVOLVING DOD PRODUCT SUPPORT ENVIRONMENT SINCE 2009 </a:t>
            </a:r>
            <a:endParaRPr lang="en-US" sz="1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4116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12481" y="6629400"/>
            <a:ext cx="731520" cy="228600"/>
          </a:xfrm>
          <a:prstGeom prst="rect">
            <a:avLst/>
          </a:prstGeom>
        </p:spPr>
        <p:txBody>
          <a:bodyPr anchor="ctr"/>
          <a:lstStyle>
            <a:lvl1pPr algn="r">
              <a:defRPr sz="810">
                <a:solidFill>
                  <a:schemeClr val="bg1"/>
                </a:solidFill>
              </a:defRPr>
            </a:lvl1pPr>
          </a:lstStyle>
          <a:p>
            <a:fld id="{378F9958-02CF-44E9-AAF3-DDDDE063D447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 userDrawn="1">
            <p:extLst/>
          </p:nvPr>
        </p:nvGraphicFramePr>
        <p:xfrm>
          <a:off x="251460" y="666718"/>
          <a:ext cx="8641084" cy="5943600"/>
        </p:xfrm>
        <a:graphic>
          <a:graphicData uri="http://schemas.openxmlformats.org/drawingml/2006/table">
            <a:tbl>
              <a:tblPr firstRow="1" bandRow="1"/>
              <a:tblGrid>
                <a:gridCol w="10705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05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705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050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05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7050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7050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14752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594360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9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6" marR="6857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rtl="0"/>
                      <a:r>
                        <a:rPr lang="en-US" sz="16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0</a:t>
                      </a:r>
                      <a:endParaRPr lang="en-US" sz="1400" b="1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76" marR="68576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1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6" marR="68576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2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6" marR="68576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3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6" marR="68576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4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6" marR="68576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6" marR="68576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6" marR="68576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 userDrawn="1"/>
        </p:nvSpPr>
        <p:spPr>
          <a:xfrm>
            <a:off x="251460" y="242602"/>
            <a:ext cx="8641081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kern="0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IDLY EVOLVING DOD PRODUCT SUPPORT ENVIRONMENT SINCE 2009 </a:t>
            </a:r>
            <a:endParaRPr lang="en-US" sz="1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2645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F26C58-9970-4199-A4C7-3398A0D70FC8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B7DE75-D650-4BD9-8C27-6BD8599B2B8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2B12B-4D85-491A-B721-4F2C51D826E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9AA4EB-B1C5-4786-9946-3DA327BD7C43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453FEB-C1C3-47A6-A45E-0C10005BB9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B409C4-B32F-4173-A479-E0781FE14231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80D14A-20A4-4DAA-9338-2607E2D5DCB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316DF8-A8C1-43BF-8A65-7809682E28B1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A205F3-F59D-4E9F-A792-4B0427A6EB3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4D5E54-5C74-48A9-9D53-D070DFE3E604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88DC95-F787-4D0E-A1B1-02A9F299B04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1ACA03-FA4E-4CA7-B0B1-1F35D6F96A2B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07342D-3A13-4C40-80A2-08E0E5F44B3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3459163" y="1841500"/>
            <a:ext cx="2225675" cy="222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8713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046922"/>
            <a:ext cx="7772400" cy="675860"/>
          </a:xfrm>
          <a:prstGeom prst="rect">
            <a:avLst/>
          </a:prstGeom>
        </p:spPr>
        <p:txBody>
          <a:bodyPr anchor="ctr"/>
          <a:lstStyle>
            <a:lvl1pPr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8713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271749"/>
            <a:ext cx="6400800" cy="1559206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200" b="1"/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6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227" y="1245704"/>
            <a:ext cx="7911547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8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/>
            </a:lvl2pPr>
            <a:lvl3pPr marL="466725" indent="-241300">
              <a:buFont typeface="Wingdings" pitchFamily="2" charset="2"/>
              <a:buChar char="§"/>
              <a:defRPr/>
            </a:lvl3pPr>
            <a:lvl4pPr marL="685800" indent="-228600">
              <a:buFont typeface="Arial" pitchFamily="34" charset="0"/>
              <a:buChar char="•"/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FB5BD099-CB11-4BBA-B261-BB4B65E0AACC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C81CDD20-C1E7-4408-B9EB-B89E0997D7C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6111" y="1235266"/>
            <a:ext cx="3915202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6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 sz="1400"/>
            </a:lvl2pPr>
            <a:lvl3pPr marL="463550" indent="-231775">
              <a:buFont typeface="Wingdings" pitchFamily="2" charset="2"/>
              <a:buChar char="§"/>
              <a:defRPr sz="1200"/>
            </a:lvl3pPr>
            <a:lvl4pPr marL="688975" indent="-234950"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3"/>
          </p:nvPr>
        </p:nvSpPr>
        <p:spPr>
          <a:xfrm>
            <a:off x="4624757" y="1235266"/>
            <a:ext cx="3915202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6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 sz="1400"/>
            </a:lvl2pPr>
            <a:lvl3pPr marL="463550" indent="-231775">
              <a:buFont typeface="Wingdings" pitchFamily="2" charset="2"/>
              <a:buChar char="§"/>
              <a:defRPr sz="1200"/>
            </a:lvl3pPr>
            <a:lvl4pPr marL="688975" indent="-234950"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4"/>
          </p:nvPr>
        </p:nvSpPr>
        <p:spPr/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55602D0-5936-4F8F-8743-196FDDF758F6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F5A3E611-19CB-444A-9CCE-25EF7EBCB03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5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617258E5-38EF-4B9F-8C34-CBE2EF067344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A08A0D29-B176-4BE1-B8F6-1597B6A3687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5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19150" y="2930155"/>
            <a:ext cx="7505700" cy="792162"/>
          </a:xfrm>
          <a:prstGeom prst="rect">
            <a:avLst/>
          </a:prstGeom>
        </p:spPr>
        <p:txBody>
          <a:bodyPr anchor="ctr"/>
          <a:lstStyle>
            <a:lvl1pPr algn="ctr"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B2950F1E-BF5F-490D-AA4C-4075B22CA15A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57FAA065-F3FF-44A0-B789-3A18C16FABC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D38FD2-C195-47F2-A019-BB07EA1940C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68CA25-D967-4614-9C0A-0C656EE8145B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D2B139-1454-4677-91DF-1E777468684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971550" y="204788"/>
            <a:ext cx="7581900" cy="7810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3459163" y="1964332"/>
            <a:ext cx="2225675" cy="222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8713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046922"/>
            <a:ext cx="7772400" cy="675860"/>
          </a:xfrm>
          <a:prstGeom prst="rect">
            <a:avLst/>
          </a:prstGeom>
        </p:spPr>
        <p:txBody>
          <a:bodyPr anchor="ctr"/>
          <a:lstStyle>
            <a:lvl1pPr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8713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271749"/>
            <a:ext cx="6400800" cy="1559206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200" b="1"/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6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227" y="1245704"/>
            <a:ext cx="7911547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8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/>
            </a:lvl2pPr>
            <a:lvl3pPr marL="466725" indent="-241300">
              <a:buFont typeface="Wingdings" pitchFamily="2" charset="2"/>
              <a:buChar char="§"/>
              <a:defRPr/>
            </a:lvl3pPr>
            <a:lvl4pPr marL="685800" indent="-228600">
              <a:buFont typeface="Arial" pitchFamily="34" charset="0"/>
              <a:buChar char="•"/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B8A37FEA-BDB7-4B05-A5F3-8A6E9BB0FCA6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D9BDCB59-3755-4A3F-8F14-125F2E2838B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6111" y="1235266"/>
            <a:ext cx="3915202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6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 sz="1400"/>
            </a:lvl2pPr>
            <a:lvl3pPr marL="463550" indent="-231775">
              <a:buFont typeface="Wingdings" pitchFamily="2" charset="2"/>
              <a:buChar char="§"/>
              <a:defRPr sz="1200"/>
            </a:lvl3pPr>
            <a:lvl4pPr marL="688975" indent="-234950"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3"/>
          </p:nvPr>
        </p:nvSpPr>
        <p:spPr>
          <a:xfrm>
            <a:off x="4624757" y="1235266"/>
            <a:ext cx="3915202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6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 sz="1400"/>
            </a:lvl2pPr>
            <a:lvl3pPr marL="463550" indent="-231775">
              <a:buFont typeface="Wingdings" pitchFamily="2" charset="2"/>
              <a:buChar char="§"/>
              <a:defRPr sz="1200"/>
            </a:lvl3pPr>
            <a:lvl4pPr marL="688975" indent="-234950"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4"/>
          </p:nvPr>
        </p:nvSpPr>
        <p:spPr/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3C15DD3-DFA9-4562-9096-59E2CE953A24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513B6E1E-7A03-444D-BCEB-40FB64A7A45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5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D3C1FE9A-0601-4785-8BB3-1259F250F201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7BDD925F-8D9D-414C-9AE2-7178E6A5F0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5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19150" y="2930155"/>
            <a:ext cx="7505700" cy="792162"/>
          </a:xfrm>
          <a:prstGeom prst="rect">
            <a:avLst/>
          </a:prstGeom>
        </p:spPr>
        <p:txBody>
          <a:bodyPr anchor="ctr"/>
          <a:lstStyle>
            <a:lvl1pPr algn="ctr"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CEEEDA18-0DFB-4D20-90A9-190B59BB3920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671C1C66-0127-415A-BC7B-0602C77CF61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05BF27-EAD0-4B2C-8D6F-2EDBD8784832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ED9110-2D4D-4B1C-9EDC-AC75BA3308D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971550" y="204788"/>
            <a:ext cx="7581900" cy="7810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3459163" y="1841500"/>
            <a:ext cx="2225675" cy="222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8713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046922"/>
            <a:ext cx="7772400" cy="675860"/>
          </a:xfrm>
          <a:prstGeom prst="rect">
            <a:avLst/>
          </a:prstGeom>
        </p:spPr>
        <p:txBody>
          <a:bodyPr anchor="ctr"/>
          <a:lstStyle>
            <a:lvl1pPr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8713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271749"/>
            <a:ext cx="6400800" cy="1559206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200" b="1"/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6ABEA5-4B6E-4C56-8794-6DAA0ADE21B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6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227" y="1245704"/>
            <a:ext cx="7911547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8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/>
            </a:lvl2pPr>
            <a:lvl3pPr marL="466725" indent="-241300">
              <a:buFont typeface="Wingdings" pitchFamily="2" charset="2"/>
              <a:buChar char="§"/>
              <a:defRPr/>
            </a:lvl3pPr>
            <a:lvl4pPr marL="685800" indent="-228600">
              <a:buFont typeface="Arial" pitchFamily="34" charset="0"/>
              <a:buChar char="•"/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B93CCF38-25CD-499D-B083-89D39FCA60A6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D9BDCB59-3755-4A3F-8F14-125F2E2838B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6111" y="1235266"/>
            <a:ext cx="3915202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6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 sz="1400"/>
            </a:lvl2pPr>
            <a:lvl3pPr marL="463550" indent="-231775">
              <a:buFont typeface="Wingdings" pitchFamily="2" charset="2"/>
              <a:buChar char="§"/>
              <a:defRPr sz="1200"/>
            </a:lvl3pPr>
            <a:lvl4pPr marL="688975" indent="-234950"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3"/>
          </p:nvPr>
        </p:nvSpPr>
        <p:spPr>
          <a:xfrm>
            <a:off x="4624757" y="1235266"/>
            <a:ext cx="3915202" cy="488045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defRPr sz="1600" b="1"/>
            </a:lvl1pPr>
            <a:lvl2pPr marL="231775" indent="-231775">
              <a:spcBef>
                <a:spcPts val="1200"/>
              </a:spcBef>
              <a:buFont typeface="Arial" pitchFamily="34" charset="0"/>
              <a:buChar char="–"/>
              <a:defRPr sz="1400"/>
            </a:lvl2pPr>
            <a:lvl3pPr marL="463550" indent="-231775">
              <a:buFont typeface="Wingdings" pitchFamily="2" charset="2"/>
              <a:buChar char="§"/>
              <a:defRPr sz="1200"/>
            </a:lvl3pPr>
            <a:lvl4pPr marL="688975" indent="-234950"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4"/>
          </p:nvPr>
        </p:nvSpPr>
        <p:spPr/>
        <p:txBody>
          <a:bodyPr/>
          <a:lstStyle>
            <a:lvl1pPr algn="l">
              <a:defRPr sz="14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5E78A39-4B24-420B-953A-59A8E8787861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513B6E1E-7A03-444D-BCEB-40FB64A7A45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5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181100" y="274638"/>
            <a:ext cx="7605092" cy="792162"/>
          </a:xfrm>
          <a:prstGeom prst="rect">
            <a:avLst/>
          </a:prstGeom>
        </p:spPr>
        <p:txBody>
          <a:bodyPr anchor="ctr"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44A44327-6E8B-4FB8-9801-54364CE0AAD8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7BDD925F-8D9D-414C-9AE2-7178E6A5F0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5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19150" y="2930155"/>
            <a:ext cx="7505700" cy="792162"/>
          </a:xfrm>
          <a:prstGeom prst="rect">
            <a:avLst/>
          </a:prstGeom>
        </p:spPr>
        <p:txBody>
          <a:bodyPr anchor="ctr"/>
          <a:lstStyle>
            <a:lvl1pPr algn="ctr"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1400"/>
            </a:lvl1pPr>
          </a:lstStyle>
          <a:p>
            <a:pPr>
              <a:defRPr/>
            </a:pPr>
            <a:fld id="{D3B3B126-0C78-4EE0-A206-340D83BDF03F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400"/>
            </a:lvl1pPr>
          </a:lstStyle>
          <a:p>
            <a:pPr>
              <a:defRPr/>
            </a:pPr>
            <a:fld id="{671C1C66-0127-415A-BC7B-0602C77CF61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B77D7C-3621-44E2-AC3B-C2F9BF5C19AF}" type="datetime1">
              <a:rPr lang="en-US" smtClean="0">
                <a:solidFill>
                  <a:srgbClr val="000000"/>
                </a:solidFill>
              </a:rPr>
              <a:t>5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ED9110-2D4D-4B1C-9EDC-AC75BA3308D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14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7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1" descr="prtm_wmf_final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600" y="6172200"/>
            <a:ext cx="1143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2"/>
          <p:cNvSpPr>
            <a:spLocks noChangeArrowheads="1"/>
          </p:cNvSpPr>
          <p:nvPr/>
        </p:nvSpPr>
        <p:spPr bwMode="auto">
          <a:xfrm>
            <a:off x="1524000" y="6172200"/>
            <a:ext cx="60245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182845" bIns="0" anchor="ctr"/>
          <a:lstStyle/>
          <a:p>
            <a:pPr algn="l">
              <a:lnSpc>
                <a:spcPct val="100000"/>
              </a:lnSpc>
              <a:defRPr/>
            </a:pPr>
            <a:r>
              <a:rPr lang="en-US" sz="800" dirty="0">
                <a:solidFill>
                  <a:srgbClr val="3A372F"/>
                </a:solidFill>
                <a:latin typeface="Arial" charset="0"/>
                <a:ea typeface="ＭＳ Ｐゴシック" pitchFamily="1" charset="-128"/>
                <a:cs typeface="Arial Unicode MS" pitchFamily="34" charset="-128"/>
              </a:rPr>
              <a:t>PRTM Report Template</a:t>
            </a:r>
            <a:r>
              <a:rPr lang="en-US" sz="800" dirty="0">
                <a:solidFill>
                  <a:srgbClr val="3A372F"/>
                </a:solidFill>
                <a:latin typeface="Arial" charset="0"/>
                <a:ea typeface="ＭＳ Ｐゴシック" pitchFamily="1" charset="-128"/>
                <a:cs typeface="Arial" charset="0"/>
              </a:rPr>
              <a:t>—</a:t>
            </a:r>
            <a:r>
              <a:rPr lang="en-US" sz="800" dirty="0">
                <a:solidFill>
                  <a:srgbClr val="3A372F"/>
                </a:solidFill>
                <a:latin typeface="Arial" charset="0"/>
                <a:ea typeface="ＭＳ Ｐゴシック" pitchFamily="1" charset="-128"/>
                <a:cs typeface="Arial Unicode MS" pitchFamily="34" charset="-128"/>
              </a:rPr>
              <a:t>30 September 2008 </a:t>
            </a:r>
            <a:r>
              <a:rPr lang="en-US" sz="800" b="0" dirty="0">
                <a:solidFill>
                  <a:srgbClr val="3A372F"/>
                </a:solidFill>
                <a:latin typeface="Arial" charset="0"/>
                <a:ea typeface="ＭＳ Ｐゴシック" pitchFamily="1" charset="-128"/>
                <a:cs typeface="Arial Unicode MS" pitchFamily="34" charset="-128"/>
              </a:rPr>
              <a:t>| © 2008 PRTM Proprietary</a:t>
            </a:r>
          </a:p>
        </p:txBody>
      </p:sp>
      <p:grpSp>
        <p:nvGrpSpPr>
          <p:cNvPr id="2" name="Group 80"/>
          <p:cNvGrpSpPr>
            <a:grpSpLocks/>
          </p:cNvGrpSpPr>
          <p:nvPr/>
        </p:nvGrpSpPr>
        <p:grpSpPr bwMode="auto">
          <a:xfrm>
            <a:off x="227013" y="228600"/>
            <a:ext cx="2422525" cy="5210175"/>
            <a:chOff x="143" y="144"/>
            <a:chExt cx="1526" cy="3282"/>
          </a:xfrm>
        </p:grpSpPr>
        <p:sp>
          <p:nvSpPr>
            <p:cNvPr id="7" name="Rectangle 62"/>
            <p:cNvSpPr>
              <a:spLocks noChangeArrowheads="1"/>
            </p:cNvSpPr>
            <p:nvPr/>
          </p:nvSpPr>
          <p:spPr bwMode="auto">
            <a:xfrm>
              <a:off x="949" y="3138"/>
              <a:ext cx="720" cy="288"/>
            </a:xfrm>
            <a:prstGeom prst="rect">
              <a:avLst/>
            </a:prstGeom>
            <a:solidFill>
              <a:srgbClr val="CCCCC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lnSpc>
                  <a:spcPct val="100000"/>
                </a:lnSpc>
                <a:defRPr/>
              </a:pPr>
              <a:endParaRPr lang="en-US" sz="1600" b="0" dirty="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" name="Rectangle 63"/>
            <p:cNvSpPr>
              <a:spLocks noChangeArrowheads="1"/>
            </p:cNvSpPr>
            <p:nvPr/>
          </p:nvSpPr>
          <p:spPr bwMode="auto">
            <a:xfrm>
              <a:off x="143" y="2763"/>
              <a:ext cx="720" cy="288"/>
            </a:xfrm>
            <a:prstGeom prst="rect">
              <a:avLst/>
            </a:prstGeom>
            <a:solidFill>
              <a:srgbClr val="CCCCC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lnSpc>
                  <a:spcPct val="100000"/>
                </a:lnSpc>
                <a:defRPr/>
              </a:pPr>
              <a:endParaRPr lang="en-US" sz="1600" b="0" dirty="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" name="Rectangle 64"/>
            <p:cNvSpPr>
              <a:spLocks noChangeArrowheads="1"/>
            </p:cNvSpPr>
            <p:nvPr/>
          </p:nvSpPr>
          <p:spPr bwMode="auto">
            <a:xfrm>
              <a:off x="143" y="2015"/>
              <a:ext cx="720" cy="28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lnSpc>
                  <a:spcPct val="100000"/>
                </a:lnSpc>
                <a:defRPr/>
              </a:pPr>
              <a:endParaRPr lang="en-US" sz="1600" b="0" dirty="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" name="Rectangle 66"/>
            <p:cNvSpPr>
              <a:spLocks noChangeArrowheads="1"/>
            </p:cNvSpPr>
            <p:nvPr/>
          </p:nvSpPr>
          <p:spPr bwMode="auto">
            <a:xfrm>
              <a:off x="949" y="2389"/>
              <a:ext cx="720" cy="288"/>
            </a:xfrm>
            <a:prstGeom prst="rect">
              <a:avLst/>
            </a:prstGeom>
            <a:solidFill>
              <a:srgbClr val="CCCCC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lnSpc>
                  <a:spcPct val="100000"/>
                </a:lnSpc>
                <a:defRPr/>
              </a:pPr>
              <a:endParaRPr lang="en-US" sz="1600" b="0" dirty="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" name="Rectangle 67"/>
            <p:cNvSpPr>
              <a:spLocks noChangeArrowheads="1"/>
            </p:cNvSpPr>
            <p:nvPr/>
          </p:nvSpPr>
          <p:spPr bwMode="auto">
            <a:xfrm>
              <a:off x="143" y="2389"/>
              <a:ext cx="720" cy="288"/>
            </a:xfrm>
            <a:prstGeom prst="rect">
              <a:avLst/>
            </a:prstGeom>
            <a:solidFill>
              <a:srgbClr val="CCCCC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lnSpc>
                  <a:spcPct val="100000"/>
                </a:lnSpc>
                <a:defRPr/>
              </a:pPr>
              <a:endParaRPr lang="en-US" sz="1600" b="0" dirty="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" name="Rectangle 68"/>
            <p:cNvSpPr>
              <a:spLocks noChangeArrowheads="1"/>
            </p:cNvSpPr>
            <p:nvPr/>
          </p:nvSpPr>
          <p:spPr bwMode="auto">
            <a:xfrm>
              <a:off x="143" y="1266"/>
              <a:ext cx="720" cy="288"/>
            </a:xfrm>
            <a:prstGeom prst="rect">
              <a:avLst/>
            </a:prstGeom>
            <a:solidFill>
              <a:srgbClr val="CCCCC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lnSpc>
                  <a:spcPct val="100000"/>
                </a:lnSpc>
                <a:defRPr/>
              </a:pPr>
              <a:endParaRPr lang="en-US" sz="1600" b="0" dirty="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" name="Rectangle 69"/>
            <p:cNvSpPr>
              <a:spLocks noChangeArrowheads="1"/>
            </p:cNvSpPr>
            <p:nvPr/>
          </p:nvSpPr>
          <p:spPr bwMode="auto">
            <a:xfrm>
              <a:off x="949" y="1266"/>
              <a:ext cx="720" cy="288"/>
            </a:xfrm>
            <a:prstGeom prst="rect">
              <a:avLst/>
            </a:prstGeom>
            <a:solidFill>
              <a:srgbClr val="CCCCC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lnSpc>
                  <a:spcPct val="100000"/>
                </a:lnSpc>
                <a:defRPr/>
              </a:pPr>
              <a:endParaRPr lang="en-US" sz="1600" b="0" dirty="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" name="Rectangle 70"/>
            <p:cNvSpPr>
              <a:spLocks noChangeArrowheads="1"/>
            </p:cNvSpPr>
            <p:nvPr/>
          </p:nvSpPr>
          <p:spPr bwMode="auto">
            <a:xfrm>
              <a:off x="949" y="1641"/>
              <a:ext cx="720" cy="28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lnSpc>
                  <a:spcPct val="100000"/>
                </a:lnSpc>
                <a:defRPr/>
              </a:pPr>
              <a:endParaRPr lang="en-US" sz="1600" b="0" dirty="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5" name="Rectangle 71"/>
            <p:cNvSpPr>
              <a:spLocks noChangeArrowheads="1"/>
            </p:cNvSpPr>
            <p:nvPr/>
          </p:nvSpPr>
          <p:spPr bwMode="auto">
            <a:xfrm>
              <a:off x="143" y="1641"/>
              <a:ext cx="720" cy="288"/>
            </a:xfrm>
            <a:prstGeom prst="rect">
              <a:avLst/>
            </a:prstGeom>
            <a:solidFill>
              <a:srgbClr val="CCCCC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lnSpc>
                  <a:spcPct val="100000"/>
                </a:lnSpc>
                <a:defRPr/>
              </a:pPr>
              <a:endParaRPr lang="en-US" sz="1600" b="0" dirty="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Rectangle 72"/>
            <p:cNvSpPr>
              <a:spLocks noChangeArrowheads="1"/>
            </p:cNvSpPr>
            <p:nvPr/>
          </p:nvSpPr>
          <p:spPr bwMode="auto">
            <a:xfrm>
              <a:off x="143" y="518"/>
              <a:ext cx="720" cy="288"/>
            </a:xfrm>
            <a:prstGeom prst="rect">
              <a:avLst/>
            </a:prstGeom>
            <a:solidFill>
              <a:srgbClr val="CCCCC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lnSpc>
                  <a:spcPct val="100000"/>
                </a:lnSpc>
                <a:defRPr/>
              </a:pPr>
              <a:endParaRPr lang="en-US" sz="1600" b="0" dirty="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7" name="Rectangle 73"/>
            <p:cNvSpPr>
              <a:spLocks noChangeArrowheads="1"/>
            </p:cNvSpPr>
            <p:nvPr/>
          </p:nvSpPr>
          <p:spPr bwMode="auto">
            <a:xfrm>
              <a:off x="949" y="518"/>
              <a:ext cx="720" cy="288"/>
            </a:xfrm>
            <a:prstGeom prst="rect">
              <a:avLst/>
            </a:prstGeom>
            <a:solidFill>
              <a:srgbClr val="CCCCC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lnSpc>
                  <a:spcPct val="100000"/>
                </a:lnSpc>
                <a:defRPr/>
              </a:pPr>
              <a:endParaRPr lang="en-US" sz="1600" b="0" dirty="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8" name="Rectangle 74"/>
            <p:cNvSpPr>
              <a:spLocks noChangeArrowheads="1"/>
            </p:cNvSpPr>
            <p:nvPr/>
          </p:nvSpPr>
          <p:spPr bwMode="auto">
            <a:xfrm>
              <a:off x="949" y="892"/>
              <a:ext cx="720" cy="288"/>
            </a:xfrm>
            <a:prstGeom prst="rect">
              <a:avLst/>
            </a:prstGeom>
            <a:solidFill>
              <a:srgbClr val="CCCCC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lnSpc>
                  <a:spcPct val="100000"/>
                </a:lnSpc>
                <a:defRPr/>
              </a:pPr>
              <a:endParaRPr lang="en-US" sz="1600" b="0" dirty="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9" name="Rectangle 75"/>
            <p:cNvSpPr>
              <a:spLocks noChangeArrowheads="1"/>
            </p:cNvSpPr>
            <p:nvPr/>
          </p:nvSpPr>
          <p:spPr bwMode="auto">
            <a:xfrm>
              <a:off x="143" y="892"/>
              <a:ext cx="720" cy="28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lnSpc>
                  <a:spcPct val="100000"/>
                </a:lnSpc>
                <a:defRPr/>
              </a:pPr>
              <a:endParaRPr lang="en-US" sz="1600" b="0" dirty="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0" name="Rectangle 76"/>
            <p:cNvSpPr>
              <a:spLocks noChangeArrowheads="1"/>
            </p:cNvSpPr>
            <p:nvPr/>
          </p:nvSpPr>
          <p:spPr bwMode="auto">
            <a:xfrm>
              <a:off x="949" y="144"/>
              <a:ext cx="720" cy="28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l">
                <a:lnSpc>
                  <a:spcPct val="100000"/>
                </a:lnSpc>
                <a:defRPr/>
              </a:pPr>
              <a:endParaRPr lang="en-US" sz="1600" b="0" dirty="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21" name="Text Box 19"/>
          <p:cNvSpPr txBox="1">
            <a:spLocks noChangeArrowheads="1"/>
          </p:cNvSpPr>
          <p:nvPr userDrawn="1"/>
        </p:nvSpPr>
        <p:spPr bwMode="auto">
          <a:xfrm>
            <a:off x="7229475" y="6216650"/>
            <a:ext cx="12334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b="0" dirty="0">
                <a:solidFill>
                  <a:srgbClr val="333333"/>
                </a:solidFill>
                <a:latin typeface="Arial" charset="0"/>
                <a:ea typeface="Arial Unicode MS" pitchFamily="34" charset="-128"/>
                <a:cs typeface="Arial Unicode MS" pitchFamily="34" charset="-128"/>
              </a:rPr>
              <a:t>                       </a:t>
            </a:r>
            <a:r>
              <a:rPr lang="en-US" sz="1400" b="0" dirty="0">
                <a:solidFill>
                  <a:srgbClr val="999999"/>
                </a:solidFill>
                <a:latin typeface="Arial" charset="0"/>
                <a:ea typeface="ＭＳ Ｐゴシック" pitchFamily="1" charset="-128"/>
                <a:cs typeface="Arial Unicode MS" pitchFamily="34" charset="-128"/>
              </a:rPr>
              <a:t>|</a:t>
            </a:r>
            <a:r>
              <a:rPr lang="en-US" sz="1000" dirty="0">
                <a:solidFill>
                  <a:srgbClr val="3A372F"/>
                </a:solidFill>
                <a:latin typeface="Arial" charset="0"/>
                <a:ea typeface="ＭＳ Ｐゴシック" pitchFamily="1" charset="-128"/>
                <a:cs typeface="Arial Unicode MS" pitchFamily="34" charset="-128"/>
              </a:rPr>
              <a:t> </a:t>
            </a:r>
            <a:fld id="{5AA39998-E1B2-4B3E-95B5-35BC2012829F}" type="slidenum">
              <a:rPr lang="en-US" sz="1000">
                <a:solidFill>
                  <a:srgbClr val="3A372F"/>
                </a:solidFill>
                <a:latin typeface="Arial" charset="0"/>
                <a:ea typeface="ＭＳ Ｐゴシック" pitchFamily="1" charset="-128"/>
                <a:cs typeface="Arial Unicode MS" pitchFamily="34" charset="-128"/>
              </a:rPr>
              <a:pPr algn="l">
                <a:lnSpc>
                  <a:spcPct val="100000"/>
                </a:lnSpc>
                <a:defRPr/>
              </a:pPr>
              <a:t>‹#›</a:t>
            </a:fld>
            <a:endParaRPr lang="en-US" sz="1000" dirty="0">
              <a:solidFill>
                <a:srgbClr val="3A372F"/>
              </a:solidFill>
              <a:latin typeface="Arial" charset="0"/>
              <a:ea typeface="ＭＳ Ｐゴシック" pitchFamily="1" charset="-128"/>
              <a:cs typeface="Arial Unicode MS" pitchFamily="34" charset="-128"/>
            </a:endParaRPr>
          </a:p>
        </p:txBody>
      </p:sp>
      <p:sp>
        <p:nvSpPr>
          <p:cNvPr id="3151" name="Rectangle 79"/>
          <p:cNvSpPr>
            <a:spLocks noGrp="1" noChangeArrowheads="1"/>
          </p:cNvSpPr>
          <p:nvPr>
            <p:ph type="subTitle" idx="1"/>
          </p:nvPr>
        </p:nvSpPr>
        <p:spPr>
          <a:xfrm>
            <a:off x="2806700" y="3200400"/>
            <a:ext cx="5867400" cy="762000"/>
          </a:xfrm>
        </p:spPr>
        <p:txBody>
          <a:bodyPr lIns="228600"/>
          <a:lstStyle>
            <a:lvl1pPr>
              <a:defRPr b="0" cap="all" baseline="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790825" y="1854200"/>
            <a:ext cx="5895975" cy="1035050"/>
          </a:xfrm>
        </p:spPr>
        <p:txBody>
          <a:bodyPr lIns="228557" bIns="0" anchor="t">
            <a:spAutoFit/>
          </a:bodyPr>
          <a:lstStyle>
            <a:lvl1pPr>
              <a:defRPr sz="34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50950"/>
            <a:ext cx="4038600" cy="467995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9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50950"/>
            <a:ext cx="4038600" cy="467995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9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7013"/>
            <a:ext cx="8229600" cy="7953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250950"/>
            <a:ext cx="4038600" cy="46799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48200" y="1250950"/>
            <a:ext cx="4038600" cy="4679950"/>
          </a:xfrm>
        </p:spPr>
        <p:txBody>
          <a:bodyPr/>
          <a:lstStyle/>
          <a:p>
            <a:pPr lvl="0"/>
            <a:r>
              <a:rPr lang="en-US" noProof="0" dirty="0" smtClean="0"/>
              <a:t>Click icon to add chart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622572-8D75-492F-B1CB-740B9D8CFF4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7013"/>
            <a:ext cx="8229600" cy="7953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200" y="1250950"/>
            <a:ext cx="8229600" cy="4679950"/>
          </a:xfrm>
        </p:spPr>
        <p:txBody>
          <a:bodyPr/>
          <a:lstStyle/>
          <a:p>
            <a:pPr lvl="0"/>
            <a:r>
              <a:rPr lang="en-US" noProof="0" dirty="0" smtClean="0"/>
              <a:t>Click icon to add chart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86" y="0"/>
            <a:ext cx="9145186" cy="1230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</p:pic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677804-CA34-4AB0-B2DD-11C4F5E0AAA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206DB5-C223-4E9C-BD08-4F95DE83CF3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2B12B-4D85-491A-B721-4F2C51D826E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D38FD2-C195-47F2-A019-BB07EA1940C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6ABEA5-4B6E-4C56-8794-6DAA0ADE21B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622572-8D75-492F-B1CB-740B9D8CFF4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073900" y="6632575"/>
            <a:ext cx="2133600" cy="2730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FCE4A8-FA13-4B3F-9F5D-66FB42529A6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DAU-logo-logotyp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4600" y="0"/>
            <a:ext cx="4114800" cy="221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5C7B9D-EA62-4DA4-A594-FB7D1D42E8A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E7DBCF-B9D6-4AA6-B479-743869E3C39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613E4D-8A9B-4AF5-82BC-F501B5AD054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921CD2-DC85-44BF-9E27-CAB3ED6C9E9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8CC5A9-BBE6-45A9-92EA-C72A40A6DC3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AA5601-7264-4CA2-A590-6DE71BA8C61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860E39-64B7-4CCB-A7E8-80137B9027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268562-0624-4CEC-81C4-E2CD992D60A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EC73FB-C0EA-403C-881E-7635B0C335F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81AC05-551E-4E89-8CDB-C4C64B71373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B32B7D-3CAB-4D0C-9114-5A0CE8DECC8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62BCCD-3F35-4565-A667-BBA0727DF06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9568B6-6AE6-4EC5-8589-944B260109C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59D7C4-74B9-4C9D-996E-FBAC35F368B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5AF3C6-EA8A-4B04-ABD4-F8E372230E5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2211AB-8112-4D8D-A6ED-F62B028BEAB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86" y="0"/>
            <a:ext cx="9145186" cy="1230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</p:pic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677804-CA34-4AB0-B2DD-11C4F5E0AAA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206DB5-C223-4E9C-BD08-4F95DE83CF3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18288"/>
            <a:ext cx="350837" cy="2397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62B12B-4D85-491A-B721-4F2C51D826E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6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75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image" Target="../media/image8.jpeg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theme" Target="../theme/theme11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9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10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5.xml"/><Relationship Id="rId7" Type="http://schemas.openxmlformats.org/officeDocument/2006/relationships/theme" Target="../theme/theme14.xml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6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1.xml"/><Relationship Id="rId7" Type="http://schemas.openxmlformats.org/officeDocument/2006/relationships/theme" Target="../theme/theme15.xml"/><Relationship Id="rId2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22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heme" Target="../theme/theme16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28.xml"/><Relationship Id="rId9" Type="http://schemas.openxmlformats.org/officeDocument/2006/relationships/image" Target="../media/image4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image" Target="../media/image10.jpeg"/><Relationship Id="rId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8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36.xml"/><Relationship Id="rId10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5.xml"/><Relationship Id="rId7" Type="http://schemas.openxmlformats.org/officeDocument/2006/relationships/theme" Target="../theme/theme18.xml"/><Relationship Id="rId2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46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heme" Target="../theme/theme19.xml"/><Relationship Id="rId3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52.xml"/><Relationship Id="rId9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theme" Target="../theme/theme20.xml"/><Relationship Id="rId3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5" Type="http://schemas.openxmlformats.org/officeDocument/2006/relationships/slideLayout" Target="../slideLayouts/slideLayout160.xml"/><Relationship Id="rId4" Type="http://schemas.openxmlformats.org/officeDocument/2006/relationships/slideLayout" Target="../slideLayouts/slideLayout159.xml"/><Relationship Id="rId9" Type="http://schemas.openxmlformats.org/officeDocument/2006/relationships/image" Target="../media/image4.jpe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heme" Target="../theme/theme21.xml"/><Relationship Id="rId3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69.xml"/><Relationship Id="rId2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5" Type="http://schemas.openxmlformats.org/officeDocument/2006/relationships/slideLayout" Target="../slideLayouts/slideLayout167.xml"/><Relationship Id="rId4" Type="http://schemas.openxmlformats.org/officeDocument/2006/relationships/slideLayout" Target="../slideLayouts/slideLayout166.xml"/><Relationship Id="rId9" Type="http://schemas.openxmlformats.org/officeDocument/2006/relationships/image" Target="../media/image1.jpe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7.xml"/><Relationship Id="rId13" Type="http://schemas.openxmlformats.org/officeDocument/2006/relationships/image" Target="../media/image10.jpeg"/><Relationship Id="rId3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76.xml"/><Relationship Id="rId12" Type="http://schemas.openxmlformats.org/officeDocument/2006/relationships/theme" Target="../theme/theme22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75.xml"/><Relationship Id="rId11" Type="http://schemas.openxmlformats.org/officeDocument/2006/relationships/slideLayout" Target="../slideLayouts/slideLayout180.xml"/><Relationship Id="rId5" Type="http://schemas.openxmlformats.org/officeDocument/2006/relationships/slideLayout" Target="../slideLayouts/slideLayout174.xml"/><Relationship Id="rId10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173.xml"/><Relationship Id="rId9" Type="http://schemas.openxmlformats.org/officeDocument/2006/relationships/slideLayout" Target="../slideLayouts/slideLayout178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8.xml"/><Relationship Id="rId13" Type="http://schemas.openxmlformats.org/officeDocument/2006/relationships/slideLayout" Target="../slideLayouts/slideLayout193.xml"/><Relationship Id="rId3" Type="http://schemas.openxmlformats.org/officeDocument/2006/relationships/slideLayout" Target="../slideLayouts/slideLayout183.xml"/><Relationship Id="rId7" Type="http://schemas.openxmlformats.org/officeDocument/2006/relationships/slideLayout" Target="../slideLayouts/slideLayout187.xml"/><Relationship Id="rId12" Type="http://schemas.openxmlformats.org/officeDocument/2006/relationships/slideLayout" Target="../slideLayouts/slideLayout192.xml"/><Relationship Id="rId2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slideLayout" Target="../slideLayouts/slideLayout191.xml"/><Relationship Id="rId5" Type="http://schemas.openxmlformats.org/officeDocument/2006/relationships/slideLayout" Target="../slideLayouts/slideLayout185.xml"/><Relationship Id="rId10" Type="http://schemas.openxmlformats.org/officeDocument/2006/relationships/slideLayout" Target="../slideLayouts/slideLayout190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Relationship Id="rId14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1.xml"/><Relationship Id="rId13" Type="http://schemas.openxmlformats.org/officeDocument/2006/relationships/theme" Target="../theme/theme24.xml"/><Relationship Id="rId3" Type="http://schemas.openxmlformats.org/officeDocument/2006/relationships/slideLayout" Target="../slideLayouts/slideLayout196.xml"/><Relationship Id="rId7" Type="http://schemas.openxmlformats.org/officeDocument/2006/relationships/slideLayout" Target="../slideLayouts/slideLayout200.xml"/><Relationship Id="rId12" Type="http://schemas.openxmlformats.org/officeDocument/2006/relationships/slideLayout" Target="../slideLayouts/slideLayout205.xml"/><Relationship Id="rId2" Type="http://schemas.openxmlformats.org/officeDocument/2006/relationships/slideLayout" Target="../slideLayouts/slideLayout195.xml"/><Relationship Id="rId1" Type="http://schemas.openxmlformats.org/officeDocument/2006/relationships/slideLayout" Target="../slideLayouts/slideLayout194.xml"/><Relationship Id="rId6" Type="http://schemas.openxmlformats.org/officeDocument/2006/relationships/slideLayout" Target="../slideLayouts/slideLayout199.xml"/><Relationship Id="rId11" Type="http://schemas.openxmlformats.org/officeDocument/2006/relationships/slideLayout" Target="../slideLayouts/slideLayout204.xml"/><Relationship Id="rId5" Type="http://schemas.openxmlformats.org/officeDocument/2006/relationships/slideLayout" Target="../slideLayouts/slideLayout198.xml"/><Relationship Id="rId10" Type="http://schemas.openxmlformats.org/officeDocument/2006/relationships/slideLayout" Target="../slideLayouts/slideLayout203.xml"/><Relationship Id="rId4" Type="http://schemas.openxmlformats.org/officeDocument/2006/relationships/slideLayout" Target="../slideLayouts/slideLayout197.xml"/><Relationship Id="rId9" Type="http://schemas.openxmlformats.org/officeDocument/2006/relationships/slideLayout" Target="../slideLayouts/slideLayout202.xml"/><Relationship Id="rId14" Type="http://schemas.openxmlformats.org/officeDocument/2006/relationships/image" Target="../media/image13.pn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3.xml"/><Relationship Id="rId3" Type="http://schemas.openxmlformats.org/officeDocument/2006/relationships/slideLayout" Target="../slideLayouts/slideLayout208.xml"/><Relationship Id="rId7" Type="http://schemas.openxmlformats.org/officeDocument/2006/relationships/slideLayout" Target="../slideLayouts/slideLayout212.xml"/><Relationship Id="rId2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206.xml"/><Relationship Id="rId6" Type="http://schemas.openxmlformats.org/officeDocument/2006/relationships/slideLayout" Target="../slideLayouts/slideLayout211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210.xml"/><Relationship Id="rId10" Type="http://schemas.openxmlformats.org/officeDocument/2006/relationships/theme" Target="../theme/theme25.xml"/><Relationship Id="rId4" Type="http://schemas.openxmlformats.org/officeDocument/2006/relationships/slideLayout" Target="../slideLayouts/slideLayout209.xml"/><Relationship Id="rId9" Type="http://schemas.openxmlformats.org/officeDocument/2006/relationships/slideLayout" Target="../slideLayouts/slideLayout214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theme" Target="../theme/theme26.xml"/><Relationship Id="rId3" Type="http://schemas.openxmlformats.org/officeDocument/2006/relationships/slideLayout" Target="../slideLayouts/slideLayout217.xml"/><Relationship Id="rId7" Type="http://schemas.openxmlformats.org/officeDocument/2006/relationships/slideLayout" Target="../slideLayouts/slideLayout221.xml"/><Relationship Id="rId2" Type="http://schemas.openxmlformats.org/officeDocument/2006/relationships/slideLayout" Target="../slideLayouts/slideLayout216.xml"/><Relationship Id="rId1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20.xml"/><Relationship Id="rId5" Type="http://schemas.openxmlformats.org/officeDocument/2006/relationships/slideLayout" Target="../slideLayouts/slideLayout219.xml"/><Relationship Id="rId4" Type="http://schemas.openxmlformats.org/officeDocument/2006/relationships/slideLayout" Target="../slideLayouts/slideLayout218.xml"/><Relationship Id="rId9" Type="http://schemas.openxmlformats.org/officeDocument/2006/relationships/image" Target="../media/image1.jpe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theme" Target="../theme/theme27.xml"/><Relationship Id="rId3" Type="http://schemas.openxmlformats.org/officeDocument/2006/relationships/slideLayout" Target="../slideLayouts/slideLayout224.xml"/><Relationship Id="rId7" Type="http://schemas.openxmlformats.org/officeDocument/2006/relationships/slideLayout" Target="../slideLayouts/slideLayout228.xml"/><Relationship Id="rId2" Type="http://schemas.openxmlformats.org/officeDocument/2006/relationships/slideLayout" Target="../slideLayouts/slideLayout223.xml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5" Type="http://schemas.openxmlformats.org/officeDocument/2006/relationships/slideLayout" Target="../slideLayouts/slideLayout226.xml"/><Relationship Id="rId4" Type="http://schemas.openxmlformats.org/officeDocument/2006/relationships/slideLayout" Target="../slideLayouts/slideLayout225.xml"/><Relationship Id="rId9" Type="http://schemas.openxmlformats.org/officeDocument/2006/relationships/image" Target="../media/image4.jpeg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6.xml"/><Relationship Id="rId3" Type="http://schemas.openxmlformats.org/officeDocument/2006/relationships/slideLayout" Target="../slideLayouts/slideLayout231.xml"/><Relationship Id="rId7" Type="http://schemas.openxmlformats.org/officeDocument/2006/relationships/slideLayout" Target="../slideLayouts/slideLayout235.xml"/><Relationship Id="rId12" Type="http://schemas.openxmlformats.org/officeDocument/2006/relationships/theme" Target="../theme/theme28.xml"/><Relationship Id="rId2" Type="http://schemas.openxmlformats.org/officeDocument/2006/relationships/slideLayout" Target="../slideLayouts/slideLayout230.xml"/><Relationship Id="rId1" Type="http://schemas.openxmlformats.org/officeDocument/2006/relationships/slideLayout" Target="../slideLayouts/slideLayout229.xml"/><Relationship Id="rId6" Type="http://schemas.openxmlformats.org/officeDocument/2006/relationships/slideLayout" Target="../slideLayouts/slideLayout234.xml"/><Relationship Id="rId11" Type="http://schemas.openxmlformats.org/officeDocument/2006/relationships/slideLayout" Target="../slideLayouts/slideLayout239.xml"/><Relationship Id="rId5" Type="http://schemas.openxmlformats.org/officeDocument/2006/relationships/slideLayout" Target="../slideLayouts/slideLayout233.xml"/><Relationship Id="rId10" Type="http://schemas.openxmlformats.org/officeDocument/2006/relationships/slideLayout" Target="../slideLayouts/slideLayout238.xml"/><Relationship Id="rId4" Type="http://schemas.openxmlformats.org/officeDocument/2006/relationships/slideLayout" Target="../slideLayouts/slideLayout232.xml"/><Relationship Id="rId9" Type="http://schemas.openxmlformats.org/officeDocument/2006/relationships/slideLayout" Target="../slideLayouts/slideLayout237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242.xml"/><Relationship Id="rId7" Type="http://schemas.openxmlformats.org/officeDocument/2006/relationships/theme" Target="../theme/theme29.xml"/><Relationship Id="rId2" Type="http://schemas.openxmlformats.org/officeDocument/2006/relationships/slideLayout" Target="../slideLayouts/slideLayout241.xml"/><Relationship Id="rId1" Type="http://schemas.openxmlformats.org/officeDocument/2006/relationships/slideLayout" Target="../slideLayouts/slideLayout240.xml"/><Relationship Id="rId6" Type="http://schemas.openxmlformats.org/officeDocument/2006/relationships/slideLayout" Target="../slideLayouts/slideLayout245.xml"/><Relationship Id="rId5" Type="http://schemas.openxmlformats.org/officeDocument/2006/relationships/slideLayout" Target="../slideLayouts/slideLayout244.xml"/><Relationship Id="rId4" Type="http://schemas.openxmlformats.org/officeDocument/2006/relationships/slideLayout" Target="../slideLayouts/slideLayout24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248.xml"/><Relationship Id="rId7" Type="http://schemas.openxmlformats.org/officeDocument/2006/relationships/theme" Target="../theme/theme30.xml"/><Relationship Id="rId2" Type="http://schemas.openxmlformats.org/officeDocument/2006/relationships/slideLayout" Target="../slideLayouts/slideLayout247.xml"/><Relationship Id="rId1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251.xml"/><Relationship Id="rId5" Type="http://schemas.openxmlformats.org/officeDocument/2006/relationships/slideLayout" Target="../slideLayouts/slideLayout250.xml"/><Relationship Id="rId4" Type="http://schemas.openxmlformats.org/officeDocument/2006/relationships/slideLayout" Target="../slideLayouts/slideLayout249.xml"/></Relationships>
</file>

<file path=ppt/slideMasters/_rels/slideMaster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4.xml"/><Relationship Id="rId7" Type="http://schemas.openxmlformats.org/officeDocument/2006/relationships/theme" Target="../theme/theme31.xml"/><Relationship Id="rId2" Type="http://schemas.openxmlformats.org/officeDocument/2006/relationships/slideLayout" Target="../slideLayouts/slideLayout253.xml"/><Relationship Id="rId1" Type="http://schemas.openxmlformats.org/officeDocument/2006/relationships/slideLayout" Target="../slideLayouts/slideLayout252.xml"/><Relationship Id="rId6" Type="http://schemas.openxmlformats.org/officeDocument/2006/relationships/slideLayout" Target="../slideLayouts/slideLayout257.xml"/><Relationship Id="rId5" Type="http://schemas.openxmlformats.org/officeDocument/2006/relationships/slideLayout" Target="../slideLayouts/slideLayout256.xml"/><Relationship Id="rId4" Type="http://schemas.openxmlformats.org/officeDocument/2006/relationships/slideLayout" Target="../slideLayouts/slideLayout255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theme" Target="../theme/theme32.xml"/><Relationship Id="rId3" Type="http://schemas.openxmlformats.org/officeDocument/2006/relationships/slideLayout" Target="../slideLayouts/slideLayout260.xml"/><Relationship Id="rId7" Type="http://schemas.openxmlformats.org/officeDocument/2006/relationships/slideLayout" Target="../slideLayouts/slideLayout264.xml"/><Relationship Id="rId2" Type="http://schemas.openxmlformats.org/officeDocument/2006/relationships/slideLayout" Target="../slideLayouts/slideLayout259.xml"/><Relationship Id="rId1" Type="http://schemas.openxmlformats.org/officeDocument/2006/relationships/slideLayout" Target="../slideLayouts/slideLayout258.xml"/><Relationship Id="rId6" Type="http://schemas.openxmlformats.org/officeDocument/2006/relationships/slideLayout" Target="../slideLayouts/slideLayout263.xml"/><Relationship Id="rId5" Type="http://schemas.openxmlformats.org/officeDocument/2006/relationships/slideLayout" Target="../slideLayouts/slideLayout262.xml"/><Relationship Id="rId4" Type="http://schemas.openxmlformats.org/officeDocument/2006/relationships/slideLayout" Target="../slideLayouts/slideLayout261.xml"/><Relationship Id="rId9" Type="http://schemas.openxmlformats.org/officeDocument/2006/relationships/image" Target="../media/image1.jpe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3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71.xml"/><Relationship Id="rId12" Type="http://schemas.openxmlformats.org/officeDocument/2006/relationships/theme" Target="../theme/theme33.xml"/><Relationship Id="rId2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slideLayout" Target="../slideLayouts/slideLayout275.xml"/><Relationship Id="rId5" Type="http://schemas.openxmlformats.org/officeDocument/2006/relationships/slideLayout" Target="../slideLayouts/slideLayout269.xml"/><Relationship Id="rId10" Type="http://schemas.openxmlformats.org/officeDocument/2006/relationships/slideLayout" Target="../slideLayouts/slideLayout274.xml"/><Relationship Id="rId4" Type="http://schemas.openxmlformats.org/officeDocument/2006/relationships/slideLayout" Target="../slideLayouts/slideLayout268.xml"/><Relationship Id="rId9" Type="http://schemas.openxmlformats.org/officeDocument/2006/relationships/slideLayout" Target="../slideLayouts/slideLayout273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3.xml"/><Relationship Id="rId3" Type="http://schemas.openxmlformats.org/officeDocument/2006/relationships/slideLayout" Target="../slideLayouts/slideLayout278.xml"/><Relationship Id="rId7" Type="http://schemas.openxmlformats.org/officeDocument/2006/relationships/slideLayout" Target="../slideLayouts/slideLayout282.xml"/><Relationship Id="rId2" Type="http://schemas.openxmlformats.org/officeDocument/2006/relationships/slideLayout" Target="../slideLayouts/slideLayout277.xml"/><Relationship Id="rId1" Type="http://schemas.openxmlformats.org/officeDocument/2006/relationships/slideLayout" Target="../slideLayouts/slideLayout276.xml"/><Relationship Id="rId6" Type="http://schemas.openxmlformats.org/officeDocument/2006/relationships/slideLayout" Target="../slideLayouts/slideLayout281.xml"/><Relationship Id="rId5" Type="http://schemas.openxmlformats.org/officeDocument/2006/relationships/slideLayout" Target="../slideLayouts/slideLayout280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279.xml"/><Relationship Id="rId9" Type="http://schemas.openxmlformats.org/officeDocument/2006/relationships/theme" Target="../theme/theme34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13" Type="http://schemas.openxmlformats.org/officeDocument/2006/relationships/theme" Target="../theme/theme35.xml"/><Relationship Id="rId3" Type="http://schemas.openxmlformats.org/officeDocument/2006/relationships/slideLayout" Target="../slideLayouts/slideLayout286.xml"/><Relationship Id="rId7" Type="http://schemas.openxmlformats.org/officeDocument/2006/relationships/slideLayout" Target="../slideLayouts/slideLayout290.xml"/><Relationship Id="rId12" Type="http://schemas.openxmlformats.org/officeDocument/2006/relationships/slideLayout" Target="../slideLayouts/slideLayout295.xml"/><Relationship Id="rId2" Type="http://schemas.openxmlformats.org/officeDocument/2006/relationships/slideLayout" Target="../slideLayouts/slideLayout285.xml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294.xml"/><Relationship Id="rId5" Type="http://schemas.openxmlformats.org/officeDocument/2006/relationships/slideLayout" Target="../slideLayouts/slideLayout288.xml"/><Relationship Id="rId10" Type="http://schemas.openxmlformats.org/officeDocument/2006/relationships/slideLayout" Target="../slideLayouts/slideLayout293.xml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theme" Target="../theme/theme36.xml"/><Relationship Id="rId3" Type="http://schemas.openxmlformats.org/officeDocument/2006/relationships/slideLayout" Target="../slideLayouts/slideLayout298.xml"/><Relationship Id="rId7" Type="http://schemas.openxmlformats.org/officeDocument/2006/relationships/slideLayout" Target="../slideLayouts/slideLayout302.xml"/><Relationship Id="rId2" Type="http://schemas.openxmlformats.org/officeDocument/2006/relationships/slideLayout" Target="../slideLayouts/slideLayout297.xml"/><Relationship Id="rId1" Type="http://schemas.openxmlformats.org/officeDocument/2006/relationships/slideLayout" Target="../slideLayouts/slideLayout296.xml"/><Relationship Id="rId6" Type="http://schemas.openxmlformats.org/officeDocument/2006/relationships/slideLayout" Target="../slideLayouts/slideLayout301.xml"/><Relationship Id="rId5" Type="http://schemas.openxmlformats.org/officeDocument/2006/relationships/slideLayout" Target="../slideLayouts/slideLayout300.xml"/><Relationship Id="rId4" Type="http://schemas.openxmlformats.org/officeDocument/2006/relationships/slideLayout" Target="../slideLayouts/slideLayout299.xml"/><Relationship Id="rId9" Type="http://schemas.openxmlformats.org/officeDocument/2006/relationships/image" Target="../media/image1.jpe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0.xml"/><Relationship Id="rId3" Type="http://schemas.openxmlformats.org/officeDocument/2006/relationships/slideLayout" Target="../slideLayouts/slideLayout305.xml"/><Relationship Id="rId7" Type="http://schemas.openxmlformats.org/officeDocument/2006/relationships/slideLayout" Target="../slideLayouts/slideLayout309.xml"/><Relationship Id="rId2" Type="http://schemas.openxmlformats.org/officeDocument/2006/relationships/slideLayout" Target="../slideLayouts/slideLayout304.xml"/><Relationship Id="rId1" Type="http://schemas.openxmlformats.org/officeDocument/2006/relationships/slideLayout" Target="../slideLayouts/slideLayout303.xml"/><Relationship Id="rId6" Type="http://schemas.openxmlformats.org/officeDocument/2006/relationships/slideLayout" Target="../slideLayouts/slideLayout308.xml"/><Relationship Id="rId5" Type="http://schemas.openxmlformats.org/officeDocument/2006/relationships/slideLayout" Target="../slideLayouts/slideLayout307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306.xml"/><Relationship Id="rId9" Type="http://schemas.openxmlformats.org/officeDocument/2006/relationships/theme" Target="../theme/theme37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8.xml"/><Relationship Id="rId3" Type="http://schemas.openxmlformats.org/officeDocument/2006/relationships/slideLayout" Target="../slideLayouts/slideLayout313.xml"/><Relationship Id="rId7" Type="http://schemas.openxmlformats.org/officeDocument/2006/relationships/slideLayout" Target="../slideLayouts/slideLayout317.xml"/><Relationship Id="rId2" Type="http://schemas.openxmlformats.org/officeDocument/2006/relationships/slideLayout" Target="../slideLayouts/slideLayout312.xml"/><Relationship Id="rId1" Type="http://schemas.openxmlformats.org/officeDocument/2006/relationships/slideLayout" Target="../slideLayouts/slideLayout311.xml"/><Relationship Id="rId6" Type="http://schemas.openxmlformats.org/officeDocument/2006/relationships/slideLayout" Target="../slideLayouts/slideLayout316.xml"/><Relationship Id="rId5" Type="http://schemas.openxmlformats.org/officeDocument/2006/relationships/slideLayout" Target="../slideLayouts/slideLayout31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314.xml"/><Relationship Id="rId9" Type="http://schemas.openxmlformats.org/officeDocument/2006/relationships/theme" Target="../theme/theme38.xml"/></Relationships>
</file>

<file path=ppt/slideMasters/_rels/slideMaster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1.xml"/><Relationship Id="rId7" Type="http://schemas.openxmlformats.org/officeDocument/2006/relationships/theme" Target="../theme/theme39.xml"/><Relationship Id="rId2" Type="http://schemas.openxmlformats.org/officeDocument/2006/relationships/slideLayout" Target="../slideLayouts/slideLayout320.xml"/><Relationship Id="rId1" Type="http://schemas.openxmlformats.org/officeDocument/2006/relationships/slideLayout" Target="../slideLayouts/slideLayout319.xml"/><Relationship Id="rId6" Type="http://schemas.openxmlformats.org/officeDocument/2006/relationships/slideLayout" Target="../slideLayouts/slideLayout324.xml"/><Relationship Id="rId5" Type="http://schemas.openxmlformats.org/officeDocument/2006/relationships/slideLayout" Target="../slideLayouts/slideLayout323.xml"/><Relationship Id="rId4" Type="http://schemas.openxmlformats.org/officeDocument/2006/relationships/slideLayout" Target="../slideLayouts/slideLayout3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4.jpeg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theme" Target="../theme/theme40.xml"/><Relationship Id="rId3" Type="http://schemas.openxmlformats.org/officeDocument/2006/relationships/slideLayout" Target="../slideLayouts/slideLayout327.xml"/><Relationship Id="rId7" Type="http://schemas.openxmlformats.org/officeDocument/2006/relationships/slideLayout" Target="../slideLayouts/slideLayout331.xml"/><Relationship Id="rId2" Type="http://schemas.openxmlformats.org/officeDocument/2006/relationships/slideLayout" Target="../slideLayouts/slideLayout326.xml"/><Relationship Id="rId1" Type="http://schemas.openxmlformats.org/officeDocument/2006/relationships/slideLayout" Target="../slideLayouts/slideLayout325.xml"/><Relationship Id="rId6" Type="http://schemas.openxmlformats.org/officeDocument/2006/relationships/slideLayout" Target="../slideLayouts/slideLayout330.xml"/><Relationship Id="rId5" Type="http://schemas.openxmlformats.org/officeDocument/2006/relationships/slideLayout" Target="../slideLayouts/slideLayout329.xml"/><Relationship Id="rId4" Type="http://schemas.openxmlformats.org/officeDocument/2006/relationships/slideLayout" Target="../slideLayouts/slideLayout328.xml"/><Relationship Id="rId9" Type="http://schemas.openxmlformats.org/officeDocument/2006/relationships/image" Target="../media/image1.jpeg"/></Relationships>
</file>

<file path=ppt/slideMasters/_rels/slideMaster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4.xml"/><Relationship Id="rId2" Type="http://schemas.openxmlformats.org/officeDocument/2006/relationships/slideLayout" Target="../slideLayouts/slideLayout333.xml"/><Relationship Id="rId1" Type="http://schemas.openxmlformats.org/officeDocument/2006/relationships/slideLayout" Target="../slideLayouts/slideLayout332.xml"/><Relationship Id="rId6" Type="http://schemas.openxmlformats.org/officeDocument/2006/relationships/image" Target="../media/image15.png"/><Relationship Id="rId5" Type="http://schemas.openxmlformats.org/officeDocument/2006/relationships/theme" Target="../theme/theme41.xml"/><Relationship Id="rId4" Type="http://schemas.openxmlformats.org/officeDocument/2006/relationships/slideLayout" Target="../slideLayouts/slideLayout335.xml"/></Relationships>
</file>

<file path=ppt/slideMasters/_rels/slideMaster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8.xml"/><Relationship Id="rId2" Type="http://schemas.openxmlformats.org/officeDocument/2006/relationships/slideLayout" Target="../slideLayouts/slideLayout337.xml"/><Relationship Id="rId1" Type="http://schemas.openxmlformats.org/officeDocument/2006/relationships/slideLayout" Target="../slideLayouts/slideLayout336.xml"/><Relationship Id="rId6" Type="http://schemas.openxmlformats.org/officeDocument/2006/relationships/image" Target="../media/image17.png"/><Relationship Id="rId5" Type="http://schemas.openxmlformats.org/officeDocument/2006/relationships/theme" Target="../theme/theme42.xml"/><Relationship Id="rId4" Type="http://schemas.openxmlformats.org/officeDocument/2006/relationships/slideLayout" Target="../slideLayouts/slideLayout339.xml"/></Relationships>
</file>

<file path=ppt/slideMasters/_rels/slideMaster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2.xml"/><Relationship Id="rId7" Type="http://schemas.openxmlformats.org/officeDocument/2006/relationships/theme" Target="../theme/theme43.xml"/><Relationship Id="rId2" Type="http://schemas.openxmlformats.org/officeDocument/2006/relationships/slideLayout" Target="../slideLayouts/slideLayout341.xml"/><Relationship Id="rId1" Type="http://schemas.openxmlformats.org/officeDocument/2006/relationships/slideLayout" Target="../slideLayouts/slideLayout340.xml"/><Relationship Id="rId6" Type="http://schemas.openxmlformats.org/officeDocument/2006/relationships/slideLayout" Target="../slideLayouts/slideLayout345.xml"/><Relationship Id="rId5" Type="http://schemas.openxmlformats.org/officeDocument/2006/relationships/slideLayout" Target="../slideLayouts/slideLayout344.xml"/><Relationship Id="rId4" Type="http://schemas.openxmlformats.org/officeDocument/2006/relationships/slideLayout" Target="../slideLayouts/slideLayout343.xml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3.xml"/><Relationship Id="rId3" Type="http://schemas.openxmlformats.org/officeDocument/2006/relationships/slideLayout" Target="../slideLayouts/slideLayout348.xml"/><Relationship Id="rId7" Type="http://schemas.openxmlformats.org/officeDocument/2006/relationships/slideLayout" Target="../slideLayouts/slideLayout352.xml"/><Relationship Id="rId12" Type="http://schemas.openxmlformats.org/officeDocument/2006/relationships/theme" Target="../theme/theme44.xml"/><Relationship Id="rId2" Type="http://schemas.openxmlformats.org/officeDocument/2006/relationships/slideLayout" Target="../slideLayouts/slideLayout347.xml"/><Relationship Id="rId1" Type="http://schemas.openxmlformats.org/officeDocument/2006/relationships/slideLayout" Target="../slideLayouts/slideLayout346.xml"/><Relationship Id="rId6" Type="http://schemas.openxmlformats.org/officeDocument/2006/relationships/slideLayout" Target="../slideLayouts/slideLayout351.xml"/><Relationship Id="rId11" Type="http://schemas.openxmlformats.org/officeDocument/2006/relationships/slideLayout" Target="../slideLayouts/slideLayout356.xml"/><Relationship Id="rId5" Type="http://schemas.openxmlformats.org/officeDocument/2006/relationships/slideLayout" Target="../slideLayouts/slideLayout350.xml"/><Relationship Id="rId10" Type="http://schemas.openxmlformats.org/officeDocument/2006/relationships/slideLayout" Target="../slideLayouts/slideLayout355.xml"/><Relationship Id="rId4" Type="http://schemas.openxmlformats.org/officeDocument/2006/relationships/slideLayout" Target="../slideLayouts/slideLayout349.xml"/><Relationship Id="rId9" Type="http://schemas.openxmlformats.org/officeDocument/2006/relationships/slideLayout" Target="../slideLayouts/slideLayout354.xml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4.xml"/><Relationship Id="rId3" Type="http://schemas.openxmlformats.org/officeDocument/2006/relationships/slideLayout" Target="../slideLayouts/slideLayout359.xml"/><Relationship Id="rId7" Type="http://schemas.openxmlformats.org/officeDocument/2006/relationships/slideLayout" Target="../slideLayouts/slideLayout363.xml"/><Relationship Id="rId12" Type="http://schemas.openxmlformats.org/officeDocument/2006/relationships/theme" Target="../theme/theme45.xml"/><Relationship Id="rId2" Type="http://schemas.openxmlformats.org/officeDocument/2006/relationships/slideLayout" Target="../slideLayouts/slideLayout358.xml"/><Relationship Id="rId1" Type="http://schemas.openxmlformats.org/officeDocument/2006/relationships/slideLayout" Target="../slideLayouts/slideLayout357.xml"/><Relationship Id="rId6" Type="http://schemas.openxmlformats.org/officeDocument/2006/relationships/slideLayout" Target="../slideLayouts/slideLayout362.xml"/><Relationship Id="rId11" Type="http://schemas.openxmlformats.org/officeDocument/2006/relationships/slideLayout" Target="../slideLayouts/slideLayout367.xml"/><Relationship Id="rId5" Type="http://schemas.openxmlformats.org/officeDocument/2006/relationships/slideLayout" Target="../slideLayouts/slideLayout361.xml"/><Relationship Id="rId10" Type="http://schemas.openxmlformats.org/officeDocument/2006/relationships/slideLayout" Target="../slideLayouts/slideLayout366.xml"/><Relationship Id="rId4" Type="http://schemas.openxmlformats.org/officeDocument/2006/relationships/slideLayout" Target="../slideLayouts/slideLayout360.xml"/><Relationship Id="rId9" Type="http://schemas.openxmlformats.org/officeDocument/2006/relationships/slideLayout" Target="../slideLayouts/slideLayout365.xml"/></Relationships>
</file>

<file path=ppt/slideMasters/_rels/slideMaster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0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369.xml"/><Relationship Id="rId1" Type="http://schemas.openxmlformats.org/officeDocument/2006/relationships/slideLayout" Target="../slideLayouts/slideLayout368.xml"/><Relationship Id="rId6" Type="http://schemas.openxmlformats.org/officeDocument/2006/relationships/theme" Target="../theme/theme46.xml"/><Relationship Id="rId5" Type="http://schemas.openxmlformats.org/officeDocument/2006/relationships/slideLayout" Target="../slideLayouts/slideLayout372.xml"/><Relationship Id="rId4" Type="http://schemas.openxmlformats.org/officeDocument/2006/relationships/slideLayout" Target="../slideLayouts/slideLayout371.xml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0.xml"/><Relationship Id="rId13" Type="http://schemas.openxmlformats.org/officeDocument/2006/relationships/slideLayout" Target="../slideLayouts/slideLayout385.xml"/><Relationship Id="rId3" Type="http://schemas.openxmlformats.org/officeDocument/2006/relationships/slideLayout" Target="../slideLayouts/slideLayout375.xml"/><Relationship Id="rId7" Type="http://schemas.openxmlformats.org/officeDocument/2006/relationships/slideLayout" Target="../slideLayouts/slideLayout379.xml"/><Relationship Id="rId12" Type="http://schemas.openxmlformats.org/officeDocument/2006/relationships/slideLayout" Target="../slideLayouts/slideLayout384.xml"/><Relationship Id="rId2" Type="http://schemas.openxmlformats.org/officeDocument/2006/relationships/slideLayout" Target="../slideLayouts/slideLayout374.xml"/><Relationship Id="rId1" Type="http://schemas.openxmlformats.org/officeDocument/2006/relationships/slideLayout" Target="../slideLayouts/slideLayout373.xml"/><Relationship Id="rId6" Type="http://schemas.openxmlformats.org/officeDocument/2006/relationships/slideLayout" Target="../slideLayouts/slideLayout378.xml"/><Relationship Id="rId11" Type="http://schemas.openxmlformats.org/officeDocument/2006/relationships/slideLayout" Target="../slideLayouts/slideLayout383.xml"/><Relationship Id="rId5" Type="http://schemas.openxmlformats.org/officeDocument/2006/relationships/slideLayout" Target="../slideLayouts/slideLayout377.xml"/><Relationship Id="rId10" Type="http://schemas.openxmlformats.org/officeDocument/2006/relationships/slideLayout" Target="../slideLayouts/slideLayout382.xml"/><Relationship Id="rId4" Type="http://schemas.openxmlformats.org/officeDocument/2006/relationships/slideLayout" Target="../slideLayouts/slideLayout376.xml"/><Relationship Id="rId9" Type="http://schemas.openxmlformats.org/officeDocument/2006/relationships/slideLayout" Target="../slideLayouts/slideLayout381.xml"/><Relationship Id="rId14" Type="http://schemas.openxmlformats.org/officeDocument/2006/relationships/theme" Target="../theme/theme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image" Target="../media/image5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1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5" Type="http://schemas.openxmlformats.org/officeDocument/2006/relationships/slideLayout" Target="../slideLayouts/slideLayout63.xml"/><Relationship Id="rId4" Type="http://schemas.openxmlformats.org/officeDocument/2006/relationships/slideLayout" Target="../slideLayouts/slideLayout6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8.xml"/><Relationship Id="rId9" Type="http://schemas.openxmlformats.org/officeDocument/2006/relationships/image" Target="../media/image7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DAU-logo-only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6200" y="117475"/>
            <a:ext cx="150653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8"/>
          <p:cNvGrpSpPr/>
          <p:nvPr userDrawn="1"/>
        </p:nvGrpSpPr>
        <p:grpSpPr>
          <a:xfrm>
            <a:off x="-6350" y="984250"/>
            <a:ext cx="9150350" cy="73025"/>
            <a:chOff x="-6350" y="984250"/>
            <a:chExt cx="9150350" cy="73025"/>
          </a:xfrm>
        </p:grpSpPr>
        <p:sp>
          <p:nvSpPr>
            <p:cNvPr id="6" name="Line 8"/>
            <p:cNvSpPr>
              <a:spLocks noChangeShapeType="1"/>
            </p:cNvSpPr>
            <p:nvPr userDrawn="1"/>
          </p:nvSpPr>
          <p:spPr bwMode="auto">
            <a:xfrm>
              <a:off x="0" y="1057275"/>
              <a:ext cx="9144000" cy="0"/>
            </a:xfrm>
            <a:prstGeom prst="line">
              <a:avLst/>
            </a:prstGeom>
            <a:noFill/>
            <a:ln w="28575">
              <a:solidFill>
                <a:srgbClr val="D21034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8" name="Line 9"/>
            <p:cNvSpPr>
              <a:spLocks noChangeShapeType="1"/>
            </p:cNvSpPr>
            <p:nvPr userDrawn="1"/>
          </p:nvSpPr>
          <p:spPr bwMode="auto">
            <a:xfrm>
              <a:off x="-6350" y="984250"/>
              <a:ext cx="9144000" cy="0"/>
            </a:xfrm>
            <a:prstGeom prst="line">
              <a:avLst/>
            </a:prstGeom>
            <a:noFill/>
            <a:ln w="57150">
              <a:solidFill>
                <a:srgbClr val="E4C19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</p:grpSp>
      <p:sp>
        <p:nvSpPr>
          <p:cNvPr id="7" name="TextBox 6"/>
          <p:cNvSpPr txBox="1"/>
          <p:nvPr userDrawn="1"/>
        </p:nvSpPr>
        <p:spPr>
          <a:xfrm>
            <a:off x="8788400" y="6595674"/>
            <a:ext cx="3556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72BEB00-C7BA-49F0-86B2-023AD4AE668F}" type="slidenum">
              <a:rPr lang="en-US" sz="1200" smtClean="0"/>
              <a:pPr algn="r"/>
              <a:t>‹#›</a:t>
            </a:fld>
            <a:endParaRPr lang="en-US" sz="12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24" r:id="rId1"/>
    <p:sldLayoutId id="2147484263" r:id="rId2"/>
    <p:sldLayoutId id="2147484265" r:id="rId3"/>
    <p:sldLayoutId id="2147484267" r:id="rId4"/>
    <p:sldLayoutId id="2147484268" r:id="rId5"/>
    <p:sldLayoutId id="2147484273" r:id="rId6"/>
    <p:sldLayoutId id="2147484275" r:id="rId7"/>
  </p:sldLayoutIdLst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5pPr>
      <a:lvl6pPr marL="4572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6pPr>
      <a:lvl7pPr marL="9144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7pPr>
      <a:lvl8pPr marL="13716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8pPr>
      <a:lvl9pPr marL="18288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DAU-logo-only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6200" y="117475"/>
            <a:ext cx="150653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8"/>
          <p:cNvGrpSpPr/>
          <p:nvPr userDrawn="1"/>
        </p:nvGrpSpPr>
        <p:grpSpPr>
          <a:xfrm>
            <a:off x="-6350" y="984250"/>
            <a:ext cx="9150350" cy="73025"/>
            <a:chOff x="-6350" y="984250"/>
            <a:chExt cx="9150350" cy="73025"/>
          </a:xfrm>
        </p:grpSpPr>
        <p:sp>
          <p:nvSpPr>
            <p:cNvPr id="6" name="Line 8"/>
            <p:cNvSpPr>
              <a:spLocks noChangeShapeType="1"/>
            </p:cNvSpPr>
            <p:nvPr userDrawn="1"/>
          </p:nvSpPr>
          <p:spPr bwMode="auto">
            <a:xfrm>
              <a:off x="0" y="1057275"/>
              <a:ext cx="9144000" cy="0"/>
            </a:xfrm>
            <a:prstGeom prst="line">
              <a:avLst/>
            </a:prstGeom>
            <a:noFill/>
            <a:ln w="28575">
              <a:solidFill>
                <a:srgbClr val="D21034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9"/>
            <p:cNvSpPr>
              <a:spLocks noChangeShapeType="1"/>
            </p:cNvSpPr>
            <p:nvPr userDrawn="1"/>
          </p:nvSpPr>
          <p:spPr bwMode="auto">
            <a:xfrm>
              <a:off x="-6350" y="984250"/>
              <a:ext cx="9144000" cy="0"/>
            </a:xfrm>
            <a:prstGeom prst="line">
              <a:avLst/>
            </a:prstGeom>
            <a:noFill/>
            <a:ln w="57150">
              <a:solidFill>
                <a:srgbClr val="E4C19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7" name="TextBox 6"/>
          <p:cNvSpPr txBox="1"/>
          <p:nvPr userDrawn="1"/>
        </p:nvSpPr>
        <p:spPr>
          <a:xfrm>
            <a:off x="8788400" y="6595674"/>
            <a:ext cx="3556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72BEB00-C7BA-49F0-86B2-023AD4AE668F}" type="slidenum">
              <a:rPr lang="en-US" sz="1200" smtClean="0">
                <a:solidFill>
                  <a:srgbClr val="000000"/>
                </a:solidFill>
              </a:rPr>
              <a:pPr algn="r"/>
              <a:t>‹#›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39" r:id="rId1"/>
    <p:sldLayoutId id="2147484640" r:id="rId2"/>
    <p:sldLayoutId id="2147484641" r:id="rId3"/>
    <p:sldLayoutId id="2147484642" r:id="rId4"/>
    <p:sldLayoutId id="2147484643" r:id="rId5"/>
    <p:sldLayoutId id="2147484644" r:id="rId6"/>
    <p:sldLayoutId id="2147484645" r:id="rId7"/>
    <p:sldLayoutId id="2147484646" r:id="rId8"/>
  </p:sldLayoutIdLst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5pPr>
      <a:lvl6pPr marL="4572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6pPr>
      <a:lvl7pPr marL="9144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7pPr>
      <a:lvl8pPr marL="13716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8pPr>
      <a:lvl9pPr marL="18288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2452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93163" y="6618288"/>
            <a:ext cx="350837" cy="23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lnSpc>
                <a:spcPct val="100000"/>
              </a:lnSpc>
              <a:defRPr sz="1000"/>
            </a:lvl1pPr>
          </a:lstStyle>
          <a:p>
            <a:pPr>
              <a:defRPr/>
            </a:pPr>
            <a:fld id="{18052730-8FE3-45EA-BD75-8F290D32AA3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219" name="Picture 5" descr="DAU-logo-only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6200" y="274638"/>
            <a:ext cx="1295400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2454" name="Line 6"/>
          <p:cNvSpPr>
            <a:spLocks noChangeShapeType="1"/>
          </p:cNvSpPr>
          <p:nvPr/>
        </p:nvSpPr>
        <p:spPr bwMode="auto">
          <a:xfrm>
            <a:off x="0" y="1057275"/>
            <a:ext cx="9144000" cy="0"/>
          </a:xfrm>
          <a:prstGeom prst="line">
            <a:avLst/>
          </a:prstGeom>
          <a:noFill/>
          <a:ln w="28575">
            <a:solidFill>
              <a:srgbClr val="D21034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72455" name="Line 7"/>
          <p:cNvSpPr>
            <a:spLocks noChangeShapeType="1"/>
          </p:cNvSpPr>
          <p:nvPr/>
        </p:nvSpPr>
        <p:spPr bwMode="auto">
          <a:xfrm>
            <a:off x="-6350" y="984250"/>
            <a:ext cx="9144000" cy="0"/>
          </a:xfrm>
          <a:prstGeom prst="line">
            <a:avLst/>
          </a:prstGeom>
          <a:noFill/>
          <a:ln w="57150">
            <a:solidFill>
              <a:srgbClr val="E4C19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65" r:id="rId1"/>
    <p:sldLayoutId id="2147484666" r:id="rId2"/>
    <p:sldLayoutId id="2147484667" r:id="rId3"/>
    <p:sldLayoutId id="2147484668" r:id="rId4"/>
    <p:sldLayoutId id="2147484669" r:id="rId5"/>
    <p:sldLayoutId id="2147484670" r:id="rId6"/>
    <p:sldLayoutId id="2147484671" r:id="rId7"/>
    <p:sldLayoutId id="2147484672" r:id="rId8"/>
    <p:sldLayoutId id="2147484673" r:id="rId9"/>
    <p:sldLayoutId id="2147484674" r:id="rId10"/>
    <p:sldLayoutId id="2147484675" r:id="rId11"/>
    <p:sldLayoutId id="2147484676" r:id="rId12"/>
    <p:sldLayoutId id="2147484677" r:id="rId13"/>
    <p:sldLayoutId id="2147484678" r:id="rId14"/>
    <p:sldLayoutId id="2147484679" r:id="rId15"/>
    <p:sldLayoutId id="2147484680" r:id="rId16"/>
  </p:sldLayoutIdLst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5pPr>
      <a:lvl6pPr marL="4572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6pPr>
      <a:lvl7pPr marL="9144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7pPr>
      <a:lvl8pPr marL="13716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8pPr>
      <a:lvl9pPr marL="18288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DAU-logo-only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6200" y="117475"/>
            <a:ext cx="150653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8"/>
          <p:cNvGrpSpPr/>
          <p:nvPr userDrawn="1"/>
        </p:nvGrpSpPr>
        <p:grpSpPr>
          <a:xfrm>
            <a:off x="-6350" y="984250"/>
            <a:ext cx="9150350" cy="73025"/>
            <a:chOff x="-6350" y="984250"/>
            <a:chExt cx="9150350" cy="73025"/>
          </a:xfrm>
        </p:grpSpPr>
        <p:sp>
          <p:nvSpPr>
            <p:cNvPr id="6" name="Line 8"/>
            <p:cNvSpPr>
              <a:spLocks noChangeShapeType="1"/>
            </p:cNvSpPr>
            <p:nvPr userDrawn="1"/>
          </p:nvSpPr>
          <p:spPr bwMode="auto">
            <a:xfrm>
              <a:off x="0" y="1057275"/>
              <a:ext cx="9144000" cy="0"/>
            </a:xfrm>
            <a:prstGeom prst="line">
              <a:avLst/>
            </a:prstGeom>
            <a:noFill/>
            <a:ln w="28575">
              <a:solidFill>
                <a:srgbClr val="D21034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9"/>
            <p:cNvSpPr>
              <a:spLocks noChangeShapeType="1"/>
            </p:cNvSpPr>
            <p:nvPr userDrawn="1"/>
          </p:nvSpPr>
          <p:spPr bwMode="auto">
            <a:xfrm>
              <a:off x="-6350" y="984250"/>
              <a:ext cx="9144000" cy="0"/>
            </a:xfrm>
            <a:prstGeom prst="line">
              <a:avLst/>
            </a:prstGeom>
            <a:noFill/>
            <a:ln w="57150">
              <a:solidFill>
                <a:srgbClr val="E4C19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7" name="TextBox 6"/>
          <p:cNvSpPr txBox="1"/>
          <p:nvPr userDrawn="1"/>
        </p:nvSpPr>
        <p:spPr>
          <a:xfrm>
            <a:off x="8788400" y="6595674"/>
            <a:ext cx="3556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72BEB00-C7BA-49F0-86B2-023AD4AE668F}" type="slidenum">
              <a:rPr lang="en-US" sz="1200" smtClean="0">
                <a:solidFill>
                  <a:srgbClr val="000000"/>
                </a:solidFill>
              </a:rPr>
              <a:pPr algn="r"/>
              <a:t>‹#›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90" r:id="rId1"/>
    <p:sldLayoutId id="2147484791" r:id="rId2"/>
    <p:sldLayoutId id="2147484792" r:id="rId3"/>
    <p:sldLayoutId id="2147484793" r:id="rId4"/>
    <p:sldLayoutId id="2147484794" r:id="rId5"/>
    <p:sldLayoutId id="2147484795" r:id="rId6"/>
    <p:sldLayoutId id="2147484796" r:id="rId7"/>
    <p:sldLayoutId id="2147484797" r:id="rId8"/>
    <p:sldLayoutId id="2147484798" r:id="rId9"/>
    <p:sldLayoutId id="2147484799" r:id="rId10"/>
    <p:sldLayoutId id="2147484800" r:id="rId11"/>
  </p:sldLayoutIdLst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5pPr>
      <a:lvl6pPr marL="4572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6pPr>
      <a:lvl7pPr marL="9144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7pPr>
      <a:lvl8pPr marL="13716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8pPr>
      <a:lvl9pPr marL="18288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fld id="{51C79D60-2958-469E-9175-0B1D9E8234FE}" type="datetime1">
              <a:rPr lang="en-US" b="0" smtClean="0">
                <a:solidFill>
                  <a:srgbClr val="000000"/>
                </a:solidFill>
              </a:rPr>
              <a:t>5/24/2019</a:t>
            </a:fld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fld id="{9D664FD5-1CE6-48AC-8649-FE680029F780}" type="slidenum">
              <a:rPr lang="en-US" b="0">
                <a:solidFill>
                  <a:srgbClr val="000000"/>
                </a:solidFill>
              </a:rPr>
              <a:pPr eaLnBrk="1" hangingPunct="1">
                <a:lnSpc>
                  <a:spcPct val="100000"/>
                </a:lnSpc>
                <a:defRPr/>
              </a:pPr>
              <a:t>‹#›</a:t>
            </a:fld>
            <a:endParaRPr lang="en-US" b="0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29" r:id="rId1"/>
    <p:sldLayoutId id="2147484830" r:id="rId2"/>
    <p:sldLayoutId id="2147484831" r:id="rId3"/>
    <p:sldLayoutId id="2147484832" r:id="rId4"/>
    <p:sldLayoutId id="2147484833" r:id="rId5"/>
    <p:sldLayoutId id="2147484834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293688" indent="-28575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520700" indent="-228600" algn="l" rtl="0" eaLnBrk="0" fontAlgn="base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3pPr>
      <a:lvl4pPr marL="792163" indent="-228600" algn="l" defTabSz="79533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036638" indent="-228600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fld id="{BF276681-A6ED-40F7-843F-5304BEA0DE7A}" type="datetime1">
              <a:rPr lang="en-US" b="0" smtClean="0">
                <a:solidFill>
                  <a:srgbClr val="000000"/>
                </a:solidFill>
              </a:rPr>
              <a:t>5/24/2019</a:t>
            </a:fld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fld id="{9D664FD5-1CE6-48AC-8649-FE680029F780}" type="slidenum">
              <a:rPr lang="en-US" b="0">
                <a:solidFill>
                  <a:srgbClr val="000000"/>
                </a:solidFill>
              </a:rPr>
              <a:pPr eaLnBrk="1" hangingPunct="1">
                <a:lnSpc>
                  <a:spcPct val="100000"/>
                </a:lnSpc>
                <a:defRPr/>
              </a:pPr>
              <a:t>‹#›</a:t>
            </a:fld>
            <a:endParaRPr lang="en-US" b="0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36" r:id="rId1"/>
    <p:sldLayoutId id="2147484837" r:id="rId2"/>
    <p:sldLayoutId id="2147484838" r:id="rId3"/>
    <p:sldLayoutId id="2147484839" r:id="rId4"/>
    <p:sldLayoutId id="2147484840" r:id="rId5"/>
    <p:sldLayoutId id="2147484841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293688" indent="-28575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520700" indent="-228600" algn="l" rtl="0" eaLnBrk="0" fontAlgn="base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3pPr>
      <a:lvl4pPr marL="792163" indent="-228600" algn="l" defTabSz="79533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036638" indent="-228600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fld id="{6ECB599F-83CB-473D-9517-D56D3AB27246}" type="datetime1">
              <a:rPr lang="en-US" b="0" smtClean="0">
                <a:solidFill>
                  <a:srgbClr val="000000"/>
                </a:solidFill>
              </a:rPr>
              <a:t>5/24/2019</a:t>
            </a:fld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fld id="{9D664FD5-1CE6-48AC-8649-FE680029F780}" type="slidenum">
              <a:rPr lang="en-US" b="0">
                <a:solidFill>
                  <a:srgbClr val="000000"/>
                </a:solidFill>
              </a:rPr>
              <a:pPr eaLnBrk="1" hangingPunct="1">
                <a:lnSpc>
                  <a:spcPct val="100000"/>
                </a:lnSpc>
                <a:defRPr/>
              </a:pPr>
              <a:t>‹#›</a:t>
            </a:fld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788400" y="6595674"/>
            <a:ext cx="3556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72BEB00-C7BA-49F0-86B2-023AD4AE668F}" type="slidenum">
              <a:rPr lang="en-US" sz="1200" smtClean="0">
                <a:solidFill>
                  <a:srgbClr val="000000"/>
                </a:solidFill>
              </a:rPr>
              <a:pPr algn="r"/>
              <a:t>‹#›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57" r:id="rId1"/>
    <p:sldLayoutId id="2147484858" r:id="rId2"/>
    <p:sldLayoutId id="2147484859" r:id="rId3"/>
    <p:sldLayoutId id="2147484860" r:id="rId4"/>
    <p:sldLayoutId id="2147484861" r:id="rId5"/>
    <p:sldLayoutId id="2147484862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293688" indent="-28575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520700" indent="-228600" algn="l" rtl="0" eaLnBrk="0" fontAlgn="base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3pPr>
      <a:lvl4pPr marL="792163" indent="-228600" algn="l" defTabSz="79533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036638" indent="-228600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DAU-logo-only"/>
          <p:cNvPicPr>
            <a:picLocks noChangeAspect="1" noChangeArrowheads="1"/>
          </p:cNvPicPr>
          <p:nvPr userDrawn="1"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76200" y="117475"/>
            <a:ext cx="150653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8"/>
          <p:cNvSpPr>
            <a:spLocks noChangeShapeType="1"/>
          </p:cNvSpPr>
          <p:nvPr userDrawn="1"/>
        </p:nvSpPr>
        <p:spPr bwMode="auto">
          <a:xfrm>
            <a:off x="0" y="1057275"/>
            <a:ext cx="9144000" cy="0"/>
          </a:xfrm>
          <a:prstGeom prst="line">
            <a:avLst/>
          </a:prstGeom>
          <a:noFill/>
          <a:ln w="28575">
            <a:solidFill>
              <a:srgbClr val="D21034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 userDrawn="1"/>
        </p:nvSpPr>
        <p:spPr bwMode="auto">
          <a:xfrm>
            <a:off x="-6350" y="984250"/>
            <a:ext cx="9144000" cy="0"/>
          </a:xfrm>
          <a:prstGeom prst="line">
            <a:avLst/>
          </a:prstGeom>
          <a:noFill/>
          <a:ln w="57150">
            <a:solidFill>
              <a:srgbClr val="E4C19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788400" y="6595674"/>
            <a:ext cx="3556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72BEB00-C7BA-49F0-86B2-023AD4AE668F}" type="slidenum">
              <a:rPr lang="en-US" sz="1200" smtClean="0">
                <a:solidFill>
                  <a:srgbClr val="000000"/>
                </a:solidFill>
              </a:rPr>
              <a:pPr algn="r"/>
              <a:t>‹#›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178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4" r:id="rId1"/>
    <p:sldLayoutId id="2147484935" r:id="rId2"/>
    <p:sldLayoutId id="2147484936" r:id="rId3"/>
    <p:sldLayoutId id="2147484937" r:id="rId4"/>
    <p:sldLayoutId id="2147484938" r:id="rId5"/>
    <p:sldLayoutId id="2147484939" r:id="rId6"/>
    <p:sldLayoutId id="2147484940" r:id="rId7"/>
  </p:sldLayoutIdLst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5pPr>
      <a:lvl6pPr marL="4572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6pPr>
      <a:lvl7pPr marL="9144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7pPr>
      <a:lvl8pPr marL="13716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8pPr>
      <a:lvl9pPr marL="18288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47800" y="228600"/>
            <a:ext cx="72390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95400"/>
            <a:ext cx="8229600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05800" y="6248400"/>
            <a:ext cx="533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</a:lstStyle>
          <a:p>
            <a:pPr algn="l" eaLnBrk="1" hangingPunct="1">
              <a:lnSpc>
                <a:spcPct val="100000"/>
              </a:lnSpc>
              <a:defRPr/>
            </a:pPr>
            <a:fld id="{5312D23D-B4B7-4504-879F-DBD41324BA0E}" type="slidenum">
              <a:rPr lang="en-US">
                <a:solidFill>
                  <a:srgbClr val="000000"/>
                </a:solidFill>
              </a:rPr>
              <a:pPr algn="l" eaLnBrk="1" hangingPunct="1">
                <a:lnSpc>
                  <a:spcPct val="100000"/>
                </a:lnSpc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29" name="Picture 5" descr="DAU-logo-only"/>
          <p:cNvPicPr>
            <a:picLocks noChangeAspect="1" noChangeArrowheads="1"/>
          </p:cNvPicPr>
          <p:nvPr/>
        </p:nvPicPr>
        <p:blipFill>
          <a:blip r:embed="rId13" cstate="screen"/>
          <a:srcRect/>
          <a:stretch>
            <a:fillRect/>
          </a:stretch>
        </p:blipFill>
        <p:spPr bwMode="auto">
          <a:xfrm>
            <a:off x="76200" y="436563"/>
            <a:ext cx="1295400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02" name="Line 6"/>
          <p:cNvSpPr>
            <a:spLocks noChangeShapeType="1"/>
          </p:cNvSpPr>
          <p:nvPr/>
        </p:nvSpPr>
        <p:spPr bwMode="auto">
          <a:xfrm>
            <a:off x="0" y="1219200"/>
            <a:ext cx="9144000" cy="0"/>
          </a:xfrm>
          <a:prstGeom prst="line">
            <a:avLst/>
          </a:prstGeom>
          <a:noFill/>
          <a:ln w="28575">
            <a:solidFill>
              <a:srgbClr val="D21034"/>
            </a:solidFill>
            <a:round/>
            <a:headEnd/>
            <a:tailEnd/>
          </a:ln>
          <a:effectLst/>
        </p:spPr>
        <p:txBody>
          <a:bodyPr/>
          <a:lstStyle/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00" b="0" dirty="0">
              <a:solidFill>
                <a:srgbClr val="000000"/>
              </a:solidFill>
              <a:latin typeface="Arial Narrow"/>
            </a:endParaRPr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-6350" y="1146175"/>
            <a:ext cx="9144000" cy="0"/>
          </a:xfrm>
          <a:prstGeom prst="line">
            <a:avLst/>
          </a:prstGeom>
          <a:noFill/>
          <a:ln w="57150">
            <a:solidFill>
              <a:srgbClr val="E4C191"/>
            </a:solidFill>
            <a:round/>
            <a:headEnd/>
            <a:tailEnd/>
          </a:ln>
          <a:effectLst/>
        </p:spPr>
        <p:txBody>
          <a:bodyPr/>
          <a:lstStyle/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00" b="0" dirty="0">
              <a:solidFill>
                <a:srgbClr val="000000"/>
              </a:solidFill>
              <a:latin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3436088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7" r:id="rId1"/>
    <p:sldLayoutId id="2147484958" r:id="rId2"/>
    <p:sldLayoutId id="2147484959" r:id="rId3"/>
    <p:sldLayoutId id="2147484960" r:id="rId4"/>
    <p:sldLayoutId id="2147484961" r:id="rId5"/>
    <p:sldLayoutId id="2147484962" r:id="rId6"/>
    <p:sldLayoutId id="2147484963" r:id="rId7"/>
    <p:sldLayoutId id="2147484964" r:id="rId8"/>
    <p:sldLayoutId id="2147484965" r:id="rId9"/>
    <p:sldLayoutId id="2147484966" r:id="rId10"/>
    <p:sldLayoutId id="2147484967" r:id="rId11"/>
  </p:sldLayoutIdLst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5pPr>
      <a:lvl6pPr marL="4572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6pPr>
      <a:lvl7pPr marL="9144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7pPr>
      <a:lvl8pPr marL="13716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8pPr>
      <a:lvl9pPr marL="18288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fld id="{E85AB8EC-A0F6-41F9-816C-E499AA3387F5}" type="datetime1">
              <a:rPr lang="en-US" b="0" smtClean="0">
                <a:solidFill>
                  <a:srgbClr val="000000"/>
                </a:solidFill>
              </a:rPr>
              <a:t>5/24/2019</a:t>
            </a:fld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fld id="{9D664FD5-1CE6-48AC-8649-FE680029F780}" type="slidenum">
              <a:rPr lang="en-US" b="0">
                <a:solidFill>
                  <a:srgbClr val="000000"/>
                </a:solidFill>
              </a:rPr>
              <a:pPr eaLnBrk="1" hangingPunct="1">
                <a:lnSpc>
                  <a:spcPct val="100000"/>
                </a:lnSpc>
                <a:defRPr/>
              </a:pPr>
              <a:t>‹#›</a:t>
            </a:fld>
            <a:endParaRPr lang="en-US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9498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84" r:id="rId1"/>
    <p:sldLayoutId id="2147484985" r:id="rId2"/>
    <p:sldLayoutId id="2147484986" r:id="rId3"/>
    <p:sldLayoutId id="2147484987" r:id="rId4"/>
    <p:sldLayoutId id="2147484988" r:id="rId5"/>
    <p:sldLayoutId id="2147484989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293688" indent="-28575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520700" indent="-228600" algn="l" rtl="0" eaLnBrk="0" fontAlgn="base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3pPr>
      <a:lvl4pPr marL="792163" indent="-228600" algn="l" defTabSz="79533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036638" indent="-228600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DAU-logo-only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6200" y="117475"/>
            <a:ext cx="150653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8"/>
          <p:cNvGrpSpPr/>
          <p:nvPr userDrawn="1"/>
        </p:nvGrpSpPr>
        <p:grpSpPr>
          <a:xfrm>
            <a:off x="-6350" y="984250"/>
            <a:ext cx="9150350" cy="73025"/>
            <a:chOff x="-6350" y="984250"/>
            <a:chExt cx="9150350" cy="73025"/>
          </a:xfrm>
        </p:grpSpPr>
        <p:sp>
          <p:nvSpPr>
            <p:cNvPr id="6" name="Line 8"/>
            <p:cNvSpPr>
              <a:spLocks noChangeShapeType="1"/>
            </p:cNvSpPr>
            <p:nvPr userDrawn="1"/>
          </p:nvSpPr>
          <p:spPr bwMode="auto">
            <a:xfrm>
              <a:off x="0" y="1057275"/>
              <a:ext cx="9144000" cy="0"/>
            </a:xfrm>
            <a:prstGeom prst="line">
              <a:avLst/>
            </a:prstGeom>
            <a:noFill/>
            <a:ln w="28575">
              <a:solidFill>
                <a:srgbClr val="D21034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9"/>
            <p:cNvSpPr>
              <a:spLocks noChangeShapeType="1"/>
            </p:cNvSpPr>
            <p:nvPr userDrawn="1"/>
          </p:nvSpPr>
          <p:spPr bwMode="auto">
            <a:xfrm>
              <a:off x="-6350" y="984250"/>
              <a:ext cx="9144000" cy="0"/>
            </a:xfrm>
            <a:prstGeom prst="line">
              <a:avLst/>
            </a:prstGeom>
            <a:noFill/>
            <a:ln w="57150">
              <a:solidFill>
                <a:srgbClr val="E4C19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7" name="TextBox 6"/>
          <p:cNvSpPr txBox="1"/>
          <p:nvPr userDrawn="1"/>
        </p:nvSpPr>
        <p:spPr>
          <a:xfrm>
            <a:off x="8788400" y="6595674"/>
            <a:ext cx="3556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72BEB00-C7BA-49F0-86B2-023AD4AE668F}" type="slidenum">
              <a:rPr lang="en-US" sz="1200" smtClean="0">
                <a:solidFill>
                  <a:srgbClr val="000000"/>
                </a:solidFill>
              </a:rPr>
              <a:pPr algn="r"/>
              <a:t>‹#›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634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2" r:id="rId1"/>
    <p:sldLayoutId id="2147484993" r:id="rId2"/>
    <p:sldLayoutId id="2147484994" r:id="rId3"/>
    <p:sldLayoutId id="2147484995" r:id="rId4"/>
    <p:sldLayoutId id="2147484996" r:id="rId5"/>
    <p:sldLayoutId id="2147484997" r:id="rId6"/>
    <p:sldLayoutId id="2147484998" r:id="rId7"/>
  </p:sldLayoutIdLst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5pPr>
      <a:lvl6pPr marL="4572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6pPr>
      <a:lvl7pPr marL="9144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7pPr>
      <a:lvl8pPr marL="13716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8pPr>
      <a:lvl9pPr marL="18288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402" r:id="rId1"/>
    <p:sldLayoutId id="2147484403" r:id="rId2"/>
    <p:sldLayoutId id="2147484404" r:id="rId3"/>
    <p:sldLayoutId id="2147484405" r:id="rId4"/>
    <p:sldLayoutId id="2147484406" r:id="rId5"/>
    <p:sldLayoutId id="2147484407" r:id="rId6"/>
    <p:sldLayoutId id="2147484408" r:id="rId7"/>
    <p:sldLayoutId id="2147484409" r:id="rId8"/>
    <p:sldLayoutId id="2147484410" r:id="rId9"/>
    <p:sldLayoutId id="2147484411" r:id="rId10"/>
    <p:sldLayoutId id="2147484412" r:id="rId11"/>
    <p:sldLayoutId id="2147486198" r:id="rId1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DAU-logo-only"/>
          <p:cNvPicPr>
            <a:picLocks noChangeAspect="1" noChangeArrowheads="1"/>
          </p:cNvPicPr>
          <p:nvPr userDrawn="1"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76200" y="117475"/>
            <a:ext cx="150653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8"/>
          <p:cNvGrpSpPr/>
          <p:nvPr userDrawn="1"/>
        </p:nvGrpSpPr>
        <p:grpSpPr>
          <a:xfrm>
            <a:off x="-6350" y="984250"/>
            <a:ext cx="9150350" cy="73025"/>
            <a:chOff x="-6350" y="984250"/>
            <a:chExt cx="9150350" cy="73025"/>
          </a:xfrm>
        </p:grpSpPr>
        <p:sp>
          <p:nvSpPr>
            <p:cNvPr id="6" name="Line 8"/>
            <p:cNvSpPr>
              <a:spLocks noChangeShapeType="1"/>
            </p:cNvSpPr>
            <p:nvPr userDrawn="1"/>
          </p:nvSpPr>
          <p:spPr bwMode="auto">
            <a:xfrm>
              <a:off x="0" y="1057275"/>
              <a:ext cx="9144000" cy="0"/>
            </a:xfrm>
            <a:prstGeom prst="line">
              <a:avLst/>
            </a:prstGeom>
            <a:noFill/>
            <a:ln w="28575">
              <a:solidFill>
                <a:srgbClr val="D21034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 Narrow"/>
              </a:endParaRPr>
            </a:p>
          </p:txBody>
        </p:sp>
        <p:sp>
          <p:nvSpPr>
            <p:cNvPr id="8" name="Line 9"/>
            <p:cNvSpPr>
              <a:spLocks noChangeShapeType="1"/>
            </p:cNvSpPr>
            <p:nvPr userDrawn="1"/>
          </p:nvSpPr>
          <p:spPr bwMode="auto">
            <a:xfrm>
              <a:off x="-6350" y="984250"/>
              <a:ext cx="9144000" cy="0"/>
            </a:xfrm>
            <a:prstGeom prst="line">
              <a:avLst/>
            </a:prstGeom>
            <a:noFill/>
            <a:ln w="57150">
              <a:solidFill>
                <a:srgbClr val="E4C19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 Narrow"/>
              </a:endParaRPr>
            </a:p>
          </p:txBody>
        </p:sp>
      </p:grpSp>
      <p:sp>
        <p:nvSpPr>
          <p:cNvPr id="7" name="TextBox 6"/>
          <p:cNvSpPr txBox="1"/>
          <p:nvPr userDrawn="1"/>
        </p:nvSpPr>
        <p:spPr>
          <a:xfrm>
            <a:off x="8788400" y="6595674"/>
            <a:ext cx="3556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72BEB00-C7BA-49F0-86B2-023AD4AE668F}" type="slidenum">
              <a:rPr lang="en-US" sz="1200" smtClean="0">
                <a:solidFill>
                  <a:srgbClr val="000000"/>
                </a:solidFill>
                <a:latin typeface="Arial Narrow"/>
              </a:rPr>
              <a:pPr algn="r"/>
              <a:t>‹#›</a:t>
            </a:fld>
            <a:endParaRPr lang="en-US" sz="1200" dirty="0">
              <a:solidFill>
                <a:srgbClr val="000000"/>
              </a:solidFill>
              <a:latin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794713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01" r:id="rId1"/>
    <p:sldLayoutId id="2147485002" r:id="rId2"/>
    <p:sldLayoutId id="2147485003" r:id="rId3"/>
    <p:sldLayoutId id="2147485004" r:id="rId4"/>
    <p:sldLayoutId id="2147485005" r:id="rId5"/>
    <p:sldLayoutId id="2147485006" r:id="rId6"/>
    <p:sldLayoutId id="2147485007" r:id="rId7"/>
  </p:sldLayoutIdLst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5pPr>
      <a:lvl6pPr marL="4572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6pPr>
      <a:lvl7pPr marL="9144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7pPr>
      <a:lvl8pPr marL="13716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8pPr>
      <a:lvl9pPr marL="18288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DAU-logo-only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6200" y="117475"/>
            <a:ext cx="150653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8"/>
          <p:cNvGrpSpPr/>
          <p:nvPr userDrawn="1"/>
        </p:nvGrpSpPr>
        <p:grpSpPr>
          <a:xfrm>
            <a:off x="-6350" y="984250"/>
            <a:ext cx="9150350" cy="73025"/>
            <a:chOff x="-6350" y="984250"/>
            <a:chExt cx="9150350" cy="73025"/>
          </a:xfrm>
        </p:grpSpPr>
        <p:sp>
          <p:nvSpPr>
            <p:cNvPr id="6" name="Line 8"/>
            <p:cNvSpPr>
              <a:spLocks noChangeShapeType="1"/>
            </p:cNvSpPr>
            <p:nvPr userDrawn="1"/>
          </p:nvSpPr>
          <p:spPr bwMode="auto">
            <a:xfrm>
              <a:off x="0" y="1057275"/>
              <a:ext cx="9144000" cy="0"/>
            </a:xfrm>
            <a:prstGeom prst="line">
              <a:avLst/>
            </a:prstGeom>
            <a:noFill/>
            <a:ln w="28575">
              <a:solidFill>
                <a:srgbClr val="D21034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9"/>
            <p:cNvSpPr>
              <a:spLocks noChangeShapeType="1"/>
            </p:cNvSpPr>
            <p:nvPr userDrawn="1"/>
          </p:nvSpPr>
          <p:spPr bwMode="auto">
            <a:xfrm>
              <a:off x="-6350" y="984250"/>
              <a:ext cx="9144000" cy="0"/>
            </a:xfrm>
            <a:prstGeom prst="line">
              <a:avLst/>
            </a:prstGeom>
            <a:noFill/>
            <a:ln w="57150">
              <a:solidFill>
                <a:srgbClr val="E4C19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7" name="TextBox 6"/>
          <p:cNvSpPr txBox="1"/>
          <p:nvPr userDrawn="1"/>
        </p:nvSpPr>
        <p:spPr>
          <a:xfrm>
            <a:off x="8788400" y="6595674"/>
            <a:ext cx="3556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72BEB00-C7BA-49F0-86B2-023AD4AE668F}" type="slidenum">
              <a:rPr lang="en-US" sz="1200" smtClean="0">
                <a:solidFill>
                  <a:srgbClr val="000000"/>
                </a:solidFill>
              </a:rPr>
              <a:pPr algn="r"/>
              <a:t>‹#›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2807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3" r:id="rId1"/>
    <p:sldLayoutId id="2147485024" r:id="rId2"/>
    <p:sldLayoutId id="2147485025" r:id="rId3"/>
    <p:sldLayoutId id="2147485026" r:id="rId4"/>
    <p:sldLayoutId id="2147485027" r:id="rId5"/>
    <p:sldLayoutId id="2147485028" r:id="rId6"/>
    <p:sldLayoutId id="2147485029" r:id="rId7"/>
  </p:sldLayoutIdLst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5pPr>
      <a:lvl6pPr marL="4572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6pPr>
      <a:lvl7pPr marL="9144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7pPr>
      <a:lvl8pPr marL="13716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8pPr>
      <a:lvl9pPr marL="18288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47800" y="228600"/>
            <a:ext cx="72390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95400"/>
            <a:ext cx="8229600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05800" y="6248400"/>
            <a:ext cx="533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sz="1400" b="1">
                <a:latin typeface="+mn-lt"/>
              </a:defRPr>
            </a:lvl1pPr>
          </a:lstStyle>
          <a:p>
            <a:pPr algn="l" eaLnBrk="1" hangingPunct="1">
              <a:lnSpc>
                <a:spcPct val="100000"/>
              </a:lnSpc>
              <a:defRPr/>
            </a:pPr>
            <a:fld id="{5312D23D-B4B7-4504-879F-DBD41324BA0E}" type="slidenum">
              <a:rPr lang="en-US">
                <a:solidFill>
                  <a:srgbClr val="000000"/>
                </a:solidFill>
              </a:rPr>
              <a:pPr algn="l" eaLnBrk="1" hangingPunct="1">
                <a:lnSpc>
                  <a:spcPct val="100000"/>
                </a:lnSpc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29" name="Picture 5" descr="DAU-logo-only"/>
          <p:cNvPicPr>
            <a:picLocks noChangeAspect="1" noChangeArrowheads="1"/>
          </p:cNvPicPr>
          <p:nvPr/>
        </p:nvPicPr>
        <p:blipFill>
          <a:blip r:embed="rId13" cstate="screen"/>
          <a:srcRect/>
          <a:stretch>
            <a:fillRect/>
          </a:stretch>
        </p:blipFill>
        <p:spPr bwMode="auto">
          <a:xfrm>
            <a:off x="76200" y="436563"/>
            <a:ext cx="1295400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02" name="Line 6"/>
          <p:cNvSpPr>
            <a:spLocks noChangeShapeType="1"/>
          </p:cNvSpPr>
          <p:nvPr/>
        </p:nvSpPr>
        <p:spPr bwMode="auto">
          <a:xfrm>
            <a:off x="0" y="1219200"/>
            <a:ext cx="9144000" cy="0"/>
          </a:xfrm>
          <a:prstGeom prst="line">
            <a:avLst/>
          </a:prstGeom>
          <a:noFill/>
          <a:ln w="28575">
            <a:solidFill>
              <a:srgbClr val="D21034"/>
            </a:solidFill>
            <a:round/>
            <a:headEnd/>
            <a:tailEnd/>
          </a:ln>
          <a:effectLst/>
        </p:spPr>
        <p:txBody>
          <a:bodyPr/>
          <a:lstStyle/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00" b="0" dirty="0">
              <a:solidFill>
                <a:srgbClr val="000000"/>
              </a:solidFill>
              <a:latin typeface="Arial Narrow"/>
            </a:endParaRPr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-6350" y="1146175"/>
            <a:ext cx="9144000" cy="0"/>
          </a:xfrm>
          <a:prstGeom prst="line">
            <a:avLst/>
          </a:prstGeom>
          <a:noFill/>
          <a:ln w="57150">
            <a:solidFill>
              <a:srgbClr val="E4C191"/>
            </a:solidFill>
            <a:round/>
            <a:headEnd/>
            <a:tailEnd/>
          </a:ln>
          <a:effectLst/>
        </p:spPr>
        <p:txBody>
          <a:bodyPr/>
          <a:lstStyle/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00" b="0" dirty="0">
              <a:solidFill>
                <a:srgbClr val="000000"/>
              </a:solidFill>
              <a:latin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135553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4" r:id="rId1"/>
    <p:sldLayoutId id="2147485135" r:id="rId2"/>
    <p:sldLayoutId id="2147485136" r:id="rId3"/>
    <p:sldLayoutId id="2147485137" r:id="rId4"/>
    <p:sldLayoutId id="2147485138" r:id="rId5"/>
    <p:sldLayoutId id="2147485139" r:id="rId6"/>
    <p:sldLayoutId id="2147485140" r:id="rId7"/>
    <p:sldLayoutId id="2147485141" r:id="rId8"/>
    <p:sldLayoutId id="2147485142" r:id="rId9"/>
    <p:sldLayoutId id="2147485143" r:id="rId10"/>
    <p:sldLayoutId id="2147485144" r:id="rId11"/>
  </p:sldLayoutIdLst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5pPr>
      <a:lvl6pPr marL="4572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6pPr>
      <a:lvl7pPr marL="9144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7pPr>
      <a:lvl8pPr marL="13716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8pPr>
      <a:lvl9pPr marL="18288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8080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54" r:id="rId1"/>
    <p:sldLayoutId id="2147485155" r:id="rId2"/>
    <p:sldLayoutId id="2147485156" r:id="rId3"/>
    <p:sldLayoutId id="2147485157" r:id="rId4"/>
    <p:sldLayoutId id="2147485158" r:id="rId5"/>
    <p:sldLayoutId id="2147485159" r:id="rId6"/>
    <p:sldLayoutId id="2147485160" r:id="rId7"/>
    <p:sldLayoutId id="2147485161" r:id="rId8"/>
    <p:sldLayoutId id="2147485162" r:id="rId9"/>
    <p:sldLayoutId id="2147485163" r:id="rId10"/>
    <p:sldLayoutId id="2147485164" r:id="rId11"/>
    <p:sldLayoutId id="2147486196" r:id="rId12"/>
    <p:sldLayoutId id="2147486197" r:id="rId13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5" name="Rectangle 102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" y="6524625"/>
            <a:ext cx="12192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000" dirty="0">
                <a:solidFill>
                  <a:srgbClr val="969696"/>
                </a:solidFill>
              </a:defRPr>
            </a:lvl1pPr>
          </a:lstStyle>
          <a:p>
            <a:pPr>
              <a:lnSpc>
                <a:spcPct val="100000"/>
              </a:lnSpc>
              <a:defRPr/>
            </a:pPr>
            <a:fld id="{252EAD3B-5305-4D94-8F24-884B16B0F242}" type="datetime1">
              <a:rPr lang="en-US" b="0" smtClean="0">
                <a:latin typeface="Arial"/>
              </a:rPr>
              <a:t>5/24/2019</a:t>
            </a:fld>
            <a:endParaRPr lang="en-US" b="0" dirty="0">
              <a:latin typeface="Arial"/>
            </a:endParaRPr>
          </a:p>
        </p:txBody>
      </p:sp>
      <p:sp>
        <p:nvSpPr>
          <p:cNvPr id="49156" name="Rectangle 102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988300" y="6524625"/>
            <a:ext cx="1143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lnSpc>
                <a:spcPct val="100000"/>
              </a:lnSpc>
              <a:defRPr/>
            </a:pPr>
            <a:fld id="{B29B46ED-4320-44E1-820C-017B78782B0C}" type="slidenum">
              <a:rPr lang="en-US" b="0">
                <a:solidFill>
                  <a:srgbClr val="FFFFFF">
                    <a:lumMod val="50000"/>
                  </a:srgbClr>
                </a:solidFill>
                <a:latin typeface="Arial"/>
              </a:rPr>
              <a:pPr>
                <a:lnSpc>
                  <a:spcPct val="100000"/>
                </a:lnSpc>
                <a:defRPr/>
              </a:pPr>
              <a:t>‹#›</a:t>
            </a:fld>
            <a:endParaRPr lang="en-US" b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  <p:sp>
        <p:nvSpPr>
          <p:cNvPr id="49157" name="Text Box 1029"/>
          <p:cNvSpPr txBox="1">
            <a:spLocks noChangeArrowheads="1"/>
          </p:cNvSpPr>
          <p:nvPr/>
        </p:nvSpPr>
        <p:spPr bwMode="auto">
          <a:xfrm>
            <a:off x="1295400" y="6491288"/>
            <a:ext cx="65532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  <a:defRPr/>
            </a:pPr>
            <a:r>
              <a:rPr lang="en-US" sz="1600" i="1" dirty="0">
                <a:solidFill>
                  <a:srgbClr val="000000"/>
                </a:solidFill>
                <a:latin typeface="Century Schoolbook" pitchFamily="18" charset="0"/>
              </a:rPr>
              <a:t>I n t e g r i t y  -  S e r v i c e  -  E x c e l l e n c e</a:t>
            </a:r>
          </a:p>
        </p:txBody>
      </p:sp>
      <p:sp>
        <p:nvSpPr>
          <p:cNvPr id="1029" name="Rectangle 1030"/>
          <p:cNvSpPr>
            <a:spLocks noGrp="1" noChangeArrowheads="1"/>
          </p:cNvSpPr>
          <p:nvPr>
            <p:ph type="title"/>
          </p:nvPr>
        </p:nvSpPr>
        <p:spPr bwMode="auto">
          <a:xfrm>
            <a:off x="1663700" y="76200"/>
            <a:ext cx="714375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9163" name="Line 1035"/>
          <p:cNvSpPr>
            <a:spLocks noChangeShapeType="1"/>
          </p:cNvSpPr>
          <p:nvPr/>
        </p:nvSpPr>
        <p:spPr bwMode="auto">
          <a:xfrm>
            <a:off x="381000" y="6451600"/>
            <a:ext cx="8382000" cy="0"/>
          </a:xfrm>
          <a:prstGeom prst="line">
            <a:avLst/>
          </a:prstGeom>
          <a:noFill/>
          <a:ln w="57150">
            <a:solidFill>
              <a:srgbClr val="0C2D83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100000"/>
              </a:lnSpc>
              <a:defRPr/>
            </a:pPr>
            <a:endParaRPr lang="en-US" sz="12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164" name="Line 1036"/>
          <p:cNvSpPr>
            <a:spLocks noChangeShapeType="1"/>
          </p:cNvSpPr>
          <p:nvPr/>
        </p:nvSpPr>
        <p:spPr bwMode="auto">
          <a:xfrm>
            <a:off x="381000" y="1231900"/>
            <a:ext cx="8382000" cy="0"/>
          </a:xfrm>
          <a:prstGeom prst="line">
            <a:avLst/>
          </a:prstGeom>
          <a:noFill/>
          <a:ln w="57150">
            <a:solidFill>
              <a:srgbClr val="0C2D83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100000"/>
              </a:lnSpc>
              <a:defRPr/>
            </a:pPr>
            <a:endParaRPr lang="en-US" sz="1200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032" name="Picture 1037" descr="afsymbol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92113" y="90491"/>
            <a:ext cx="1346200" cy="1062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3" name="Rectangle 1040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6225" y="1504950"/>
            <a:ext cx="8397875" cy="4743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0"/>
            <a:r>
              <a:rPr lang="en-US" smtClean="0"/>
              <a:t>2nd Bullet</a:t>
            </a:r>
          </a:p>
        </p:txBody>
      </p:sp>
    </p:spTree>
    <p:extLst>
      <p:ext uri="{BB962C8B-B14F-4D97-AF65-F5344CB8AC3E}">
        <p14:creationId xmlns:p14="http://schemas.microsoft.com/office/powerpoint/2010/main" val="3566857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9" r:id="rId1"/>
    <p:sldLayoutId id="2147485180" r:id="rId2"/>
    <p:sldLayoutId id="2147485181" r:id="rId3"/>
    <p:sldLayoutId id="2147485182" r:id="rId4"/>
    <p:sldLayoutId id="2147485183" r:id="rId5"/>
    <p:sldLayoutId id="2147485184" r:id="rId6"/>
    <p:sldLayoutId id="2147485185" r:id="rId7"/>
    <p:sldLayoutId id="2147485186" r:id="rId8"/>
    <p:sldLayoutId id="2147485187" r:id="rId9"/>
    <p:sldLayoutId id="2147485188" r:id="rId10"/>
    <p:sldLayoutId id="2147485189" r:id="rId11"/>
    <p:sldLayoutId id="2147485190" r:id="rId12"/>
  </p:sldLayoutIdLst>
  <p:hf sldNum="0" hdr="0" ftr="0" dt="0"/>
  <p:txStyles>
    <p:titleStyle>
      <a:lvl1pPr algn="r" rtl="0" eaLnBrk="1" fontAlgn="base" hangingPunct="1">
        <a:spcBef>
          <a:spcPct val="0"/>
        </a:spcBef>
        <a:spcAft>
          <a:spcPct val="0"/>
        </a:spcAft>
        <a:defRPr sz="3600" b="1" i="1">
          <a:solidFill>
            <a:srgbClr val="151C77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3600" b="1" i="1">
          <a:solidFill>
            <a:srgbClr val="151C77"/>
          </a:solidFill>
          <a:latin typeface="Arial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3600" b="1" i="1">
          <a:solidFill>
            <a:srgbClr val="151C77"/>
          </a:solidFill>
          <a:latin typeface="Arial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3600" b="1" i="1">
          <a:solidFill>
            <a:srgbClr val="151C77"/>
          </a:solidFill>
          <a:latin typeface="Arial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3600" b="1" i="1">
          <a:solidFill>
            <a:srgbClr val="151C77"/>
          </a:solidFill>
          <a:latin typeface="Arial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3600" b="1" i="1">
          <a:solidFill>
            <a:srgbClr val="151C77"/>
          </a:solidFill>
          <a:latin typeface="Arial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3600" b="1" i="1">
          <a:solidFill>
            <a:srgbClr val="151C77"/>
          </a:solidFill>
          <a:latin typeface="Arial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3600" b="1" i="1">
          <a:solidFill>
            <a:srgbClr val="151C77"/>
          </a:solidFill>
          <a:latin typeface="Arial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3600" b="1" i="1">
          <a:solidFill>
            <a:srgbClr val="151C77"/>
          </a:solidFill>
          <a:latin typeface="Arial" charset="0"/>
        </a:defRPr>
      </a:lvl9pPr>
    </p:titleStyle>
    <p:bodyStyle>
      <a:lvl1pPr marL="285750" indent="-285750" algn="l" rtl="0" eaLnBrk="1" fontAlgn="base" hangingPunct="1">
        <a:spcBef>
          <a:spcPct val="50000"/>
        </a:spcBef>
        <a:spcAft>
          <a:spcPct val="0"/>
        </a:spcAft>
        <a:buClr>
          <a:srgbClr val="151C77"/>
        </a:buClr>
        <a:buSzPct val="80000"/>
        <a:buFont typeface="Wingdings" pitchFamily="2" charset="2"/>
        <a:buChar char="n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688975" indent="-282575" algn="l" rtl="0" eaLnBrk="1" fontAlgn="base" hangingPunct="1">
        <a:spcBef>
          <a:spcPct val="25000"/>
        </a:spcBef>
        <a:spcAft>
          <a:spcPct val="0"/>
        </a:spcAft>
        <a:buClr>
          <a:srgbClr val="151C77"/>
        </a:buClr>
        <a:buSzPct val="80000"/>
        <a:buFont typeface="Wingdings" pitchFamily="2" charset="2"/>
        <a:buChar char="n"/>
        <a:defRPr sz="2000" b="1">
          <a:solidFill>
            <a:schemeClr val="tx1"/>
          </a:solidFill>
          <a:latin typeface="+mn-lt"/>
        </a:defRPr>
      </a:lvl2pPr>
      <a:lvl3pPr marL="1027113" indent="-223838" algn="l" rtl="0" eaLnBrk="1" fontAlgn="base" hangingPunct="1">
        <a:spcBef>
          <a:spcPct val="25000"/>
        </a:spcBef>
        <a:spcAft>
          <a:spcPct val="0"/>
        </a:spcAft>
        <a:buClr>
          <a:srgbClr val="151C77"/>
        </a:buClr>
        <a:buSzPct val="80000"/>
        <a:buFont typeface="Wingdings" pitchFamily="2" charset="2"/>
        <a:buChar char="n"/>
        <a:defRPr sz="2000" b="1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5000"/>
        </a:spcBef>
        <a:spcAft>
          <a:spcPct val="0"/>
        </a:spcAft>
        <a:buClr>
          <a:srgbClr val="151C77"/>
        </a:buClr>
        <a:buSzPct val="80000"/>
        <a:buFont typeface="Wingdings" pitchFamily="2" charset="2"/>
        <a:buChar char="n"/>
        <a:defRPr sz="2000" b="1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3399"/>
        </a:buClr>
        <a:buSzPct val="8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DAU-logo-only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6200" y="117475"/>
            <a:ext cx="150653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8"/>
          <p:cNvGrpSpPr/>
          <p:nvPr userDrawn="1"/>
        </p:nvGrpSpPr>
        <p:grpSpPr>
          <a:xfrm>
            <a:off x="-6350" y="984250"/>
            <a:ext cx="9150350" cy="73025"/>
            <a:chOff x="-6350" y="984250"/>
            <a:chExt cx="9150350" cy="73025"/>
          </a:xfrm>
        </p:grpSpPr>
        <p:sp>
          <p:nvSpPr>
            <p:cNvPr id="6" name="Line 8"/>
            <p:cNvSpPr>
              <a:spLocks noChangeShapeType="1"/>
            </p:cNvSpPr>
            <p:nvPr userDrawn="1"/>
          </p:nvSpPr>
          <p:spPr bwMode="auto">
            <a:xfrm>
              <a:off x="0" y="1057275"/>
              <a:ext cx="9144000" cy="0"/>
            </a:xfrm>
            <a:prstGeom prst="line">
              <a:avLst/>
            </a:prstGeom>
            <a:noFill/>
            <a:ln w="28575">
              <a:solidFill>
                <a:srgbClr val="D21034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9"/>
            <p:cNvSpPr>
              <a:spLocks noChangeShapeType="1"/>
            </p:cNvSpPr>
            <p:nvPr userDrawn="1"/>
          </p:nvSpPr>
          <p:spPr bwMode="auto">
            <a:xfrm>
              <a:off x="-6350" y="984250"/>
              <a:ext cx="9144000" cy="0"/>
            </a:xfrm>
            <a:prstGeom prst="line">
              <a:avLst/>
            </a:prstGeom>
            <a:noFill/>
            <a:ln w="57150">
              <a:solidFill>
                <a:srgbClr val="E4C19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7" name="TextBox 6"/>
          <p:cNvSpPr txBox="1"/>
          <p:nvPr userDrawn="1"/>
        </p:nvSpPr>
        <p:spPr>
          <a:xfrm>
            <a:off x="8788400" y="6595674"/>
            <a:ext cx="3556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72BEB00-C7BA-49F0-86B2-023AD4AE668F}" type="slidenum">
              <a:rPr lang="en-US" sz="1200" smtClean="0">
                <a:solidFill>
                  <a:srgbClr val="000000"/>
                </a:solidFill>
              </a:rPr>
              <a:pPr algn="r"/>
              <a:t>‹#›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9306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0" r:id="rId1"/>
    <p:sldLayoutId id="2147485221" r:id="rId2"/>
    <p:sldLayoutId id="2147485222" r:id="rId3"/>
    <p:sldLayoutId id="2147485223" r:id="rId4"/>
    <p:sldLayoutId id="2147485224" r:id="rId5"/>
    <p:sldLayoutId id="2147485225" r:id="rId6"/>
    <p:sldLayoutId id="2147485226" r:id="rId7"/>
    <p:sldLayoutId id="2147485227" r:id="rId8"/>
    <p:sldLayoutId id="2147485228" r:id="rId9"/>
  </p:sldLayoutIdLst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5pPr>
      <a:lvl6pPr marL="4572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6pPr>
      <a:lvl7pPr marL="9144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7pPr>
      <a:lvl8pPr marL="13716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8pPr>
      <a:lvl9pPr marL="18288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DAU-logo-only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6200" y="117478"/>
            <a:ext cx="150653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8"/>
          <p:cNvGrpSpPr/>
          <p:nvPr userDrawn="1"/>
        </p:nvGrpSpPr>
        <p:grpSpPr>
          <a:xfrm>
            <a:off x="-6350" y="984252"/>
            <a:ext cx="9150350" cy="73025"/>
            <a:chOff x="-6350" y="984250"/>
            <a:chExt cx="9150350" cy="73025"/>
          </a:xfrm>
        </p:grpSpPr>
        <p:sp>
          <p:nvSpPr>
            <p:cNvPr id="6" name="Line 8"/>
            <p:cNvSpPr>
              <a:spLocks noChangeShapeType="1"/>
            </p:cNvSpPr>
            <p:nvPr userDrawn="1"/>
          </p:nvSpPr>
          <p:spPr bwMode="auto">
            <a:xfrm>
              <a:off x="0" y="1057275"/>
              <a:ext cx="9144000" cy="0"/>
            </a:xfrm>
            <a:prstGeom prst="line">
              <a:avLst/>
            </a:prstGeom>
            <a:noFill/>
            <a:ln w="28575">
              <a:solidFill>
                <a:srgbClr val="D21034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9"/>
            <p:cNvSpPr>
              <a:spLocks noChangeShapeType="1"/>
            </p:cNvSpPr>
            <p:nvPr userDrawn="1"/>
          </p:nvSpPr>
          <p:spPr bwMode="auto">
            <a:xfrm>
              <a:off x="-6350" y="984250"/>
              <a:ext cx="9144000" cy="0"/>
            </a:xfrm>
            <a:prstGeom prst="line">
              <a:avLst/>
            </a:prstGeom>
            <a:noFill/>
            <a:ln w="57150">
              <a:solidFill>
                <a:srgbClr val="E4C19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7" name="TextBox 6"/>
          <p:cNvSpPr txBox="1"/>
          <p:nvPr userDrawn="1"/>
        </p:nvSpPr>
        <p:spPr>
          <a:xfrm>
            <a:off x="8788400" y="6595676"/>
            <a:ext cx="355600" cy="249164"/>
          </a:xfrm>
          <a:prstGeom prst="rect">
            <a:avLst/>
          </a:prstGeom>
          <a:noFill/>
        </p:spPr>
        <p:txBody>
          <a:bodyPr wrap="square" lIns="91302" tIns="45653" rIns="91302" bIns="45653" rtlCol="0">
            <a:spAutoFit/>
          </a:bodyPr>
          <a:lstStyle/>
          <a:p>
            <a:pPr algn="r"/>
            <a:fld id="{372BEB00-C7BA-49F0-86B2-023AD4AE668F}" type="slidenum">
              <a:rPr lang="en-US" sz="1200" smtClean="0">
                <a:solidFill>
                  <a:srgbClr val="000000"/>
                </a:solidFill>
              </a:rPr>
              <a:pPr algn="r"/>
              <a:t>‹#›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038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1" r:id="rId1"/>
    <p:sldLayoutId id="2147485232" r:id="rId2"/>
    <p:sldLayoutId id="2147485233" r:id="rId3"/>
    <p:sldLayoutId id="2147485234" r:id="rId4"/>
    <p:sldLayoutId id="2147485235" r:id="rId5"/>
    <p:sldLayoutId id="2147485236" r:id="rId6"/>
    <p:sldLayoutId id="2147485237" r:id="rId7"/>
  </p:sldLayoutIdLst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5pPr>
      <a:lvl6pPr marL="456516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6pPr>
      <a:lvl7pPr marL="913032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7pPr>
      <a:lvl8pPr marL="1369548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8pPr>
      <a:lvl9pPr marL="1826065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9pPr>
    </p:titleStyle>
    <p:bodyStyle>
      <a:lvl1pPr marL="342388" indent="-342388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1840" indent="-285324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1290" indent="-228258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597806" indent="-228258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4323" indent="-228258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0839" indent="-228258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67356" indent="-228258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3872" indent="-228258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0388" indent="-228258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16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32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548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065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581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098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615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130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DAU-logo-only"/>
          <p:cNvPicPr>
            <a:picLocks noChangeAspect="1" noChangeArrowheads="1"/>
          </p:cNvPicPr>
          <p:nvPr userDrawn="1"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76200" y="117478"/>
            <a:ext cx="150653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8"/>
          <p:cNvSpPr>
            <a:spLocks noChangeShapeType="1"/>
          </p:cNvSpPr>
          <p:nvPr userDrawn="1"/>
        </p:nvSpPr>
        <p:spPr bwMode="auto">
          <a:xfrm>
            <a:off x="0" y="1057275"/>
            <a:ext cx="9144000" cy="0"/>
          </a:xfrm>
          <a:prstGeom prst="line">
            <a:avLst/>
          </a:prstGeom>
          <a:noFill/>
          <a:ln w="28575">
            <a:solidFill>
              <a:srgbClr val="D21034"/>
            </a:solidFill>
            <a:round/>
            <a:headEnd/>
            <a:tailEnd/>
          </a:ln>
          <a:effectLst/>
        </p:spPr>
        <p:txBody>
          <a:bodyPr lIns="91302" tIns="45653" rIns="91302" bIns="45653"/>
          <a:lstStyle/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 userDrawn="1"/>
        </p:nvSpPr>
        <p:spPr bwMode="auto">
          <a:xfrm>
            <a:off x="-6350" y="984250"/>
            <a:ext cx="9144000" cy="0"/>
          </a:xfrm>
          <a:prstGeom prst="line">
            <a:avLst/>
          </a:prstGeom>
          <a:noFill/>
          <a:ln w="57150">
            <a:solidFill>
              <a:srgbClr val="E4C191"/>
            </a:solidFill>
            <a:round/>
            <a:headEnd/>
            <a:tailEnd/>
          </a:ln>
          <a:effectLst/>
        </p:spPr>
        <p:txBody>
          <a:bodyPr lIns="91302" tIns="45653" rIns="91302" bIns="45653"/>
          <a:lstStyle/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788400" y="6595676"/>
            <a:ext cx="355600" cy="249164"/>
          </a:xfrm>
          <a:prstGeom prst="rect">
            <a:avLst/>
          </a:prstGeom>
          <a:noFill/>
        </p:spPr>
        <p:txBody>
          <a:bodyPr wrap="square" lIns="91302" tIns="45653" rIns="91302" bIns="45653" rtlCol="0">
            <a:spAutoFit/>
          </a:bodyPr>
          <a:lstStyle/>
          <a:p>
            <a:pPr algn="r"/>
            <a:fld id="{372BEB00-C7BA-49F0-86B2-023AD4AE668F}" type="slidenum">
              <a:rPr lang="en-US" sz="1200" smtClean="0">
                <a:solidFill>
                  <a:srgbClr val="000000"/>
                </a:solidFill>
              </a:rPr>
              <a:pPr algn="r"/>
              <a:t>‹#›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545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9" r:id="rId1"/>
    <p:sldLayoutId id="2147485240" r:id="rId2"/>
    <p:sldLayoutId id="2147485241" r:id="rId3"/>
    <p:sldLayoutId id="2147485242" r:id="rId4"/>
    <p:sldLayoutId id="2147485243" r:id="rId5"/>
    <p:sldLayoutId id="2147485244" r:id="rId6"/>
    <p:sldLayoutId id="2147485245" r:id="rId7"/>
  </p:sldLayoutIdLst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5pPr>
      <a:lvl6pPr marL="456516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6pPr>
      <a:lvl7pPr marL="913032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7pPr>
      <a:lvl8pPr marL="1369548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8pPr>
      <a:lvl9pPr marL="1826065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9pPr>
    </p:titleStyle>
    <p:bodyStyle>
      <a:lvl1pPr marL="342388" indent="-342388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1840" indent="-285324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1290" indent="-228258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597806" indent="-228258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4323" indent="-228258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0839" indent="-228258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67356" indent="-228258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3872" indent="-228258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0388" indent="-228258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16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32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548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065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581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098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615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130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4453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5" r:id="rId1"/>
    <p:sldLayoutId id="2147485276" r:id="rId2"/>
    <p:sldLayoutId id="2147485277" r:id="rId3"/>
    <p:sldLayoutId id="2147485278" r:id="rId4"/>
    <p:sldLayoutId id="2147485279" r:id="rId5"/>
    <p:sldLayoutId id="2147485280" r:id="rId6"/>
    <p:sldLayoutId id="2147485281" r:id="rId7"/>
    <p:sldLayoutId id="2147485282" r:id="rId8"/>
    <p:sldLayoutId id="2147485283" r:id="rId9"/>
    <p:sldLayoutId id="2147485284" r:id="rId10"/>
    <p:sldLayoutId id="2147485285" r:id="rId11"/>
  </p:sldLayoutIdLst>
  <p:hf sldNum="0" hdr="0" ftr="0" dt="0"/>
  <p:txStyles>
    <p:titleStyle>
      <a:lvl1pPr algn="ctr" defTabSz="913032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388" indent="-342388" algn="l" defTabSz="913032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840" indent="-285324" algn="l" defTabSz="913032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290" indent="-228258" algn="l" defTabSz="91303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806" indent="-228258" algn="l" defTabSz="913032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4323" indent="-228258" algn="l" defTabSz="913032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0839" indent="-228258" algn="l" defTabSz="9130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7356" indent="-228258" algn="l" defTabSz="9130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3872" indent="-228258" algn="l" defTabSz="9130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0388" indent="-228258" algn="l" defTabSz="9130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16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32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548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065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581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098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615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130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93169" y="6618288"/>
            <a:ext cx="350837" cy="23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02" tIns="45653" rIns="91302" bIns="45653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latin typeface="Arial Narrow" pitchFamily="34" charset="0"/>
              </a:defRPr>
            </a:lvl1pPr>
          </a:lstStyle>
          <a:p>
            <a:pPr>
              <a:defRPr/>
            </a:pPr>
            <a:fld id="{08E2C1D3-C63D-4985-B9DB-905F79F92D5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27" name="Picture 7" descr="DAU-logo-only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6200" y="117478"/>
            <a:ext cx="150653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Line 8"/>
          <p:cNvSpPr>
            <a:spLocks noChangeShapeType="1"/>
          </p:cNvSpPr>
          <p:nvPr userDrawn="1"/>
        </p:nvSpPr>
        <p:spPr bwMode="auto">
          <a:xfrm>
            <a:off x="0" y="1057275"/>
            <a:ext cx="9144000" cy="0"/>
          </a:xfrm>
          <a:prstGeom prst="line">
            <a:avLst/>
          </a:prstGeom>
          <a:noFill/>
          <a:ln w="28575">
            <a:solidFill>
              <a:srgbClr val="D21034"/>
            </a:solidFill>
            <a:round/>
            <a:headEnd/>
            <a:tailEnd/>
          </a:ln>
          <a:effectLst/>
        </p:spPr>
        <p:txBody>
          <a:bodyPr lIns="91302" tIns="45653" rIns="91302" bIns="45653"/>
          <a:lstStyle/>
          <a:p>
            <a:pPr>
              <a:defRPr/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 userDrawn="1"/>
        </p:nvSpPr>
        <p:spPr bwMode="auto">
          <a:xfrm>
            <a:off x="-6350" y="984250"/>
            <a:ext cx="9144000" cy="0"/>
          </a:xfrm>
          <a:prstGeom prst="line">
            <a:avLst/>
          </a:prstGeom>
          <a:noFill/>
          <a:ln w="57150">
            <a:solidFill>
              <a:srgbClr val="E4C191"/>
            </a:solidFill>
            <a:round/>
            <a:headEnd/>
            <a:tailEnd/>
          </a:ln>
          <a:effectLst/>
        </p:spPr>
        <p:txBody>
          <a:bodyPr lIns="91302" tIns="45653" rIns="91302" bIns="45653"/>
          <a:lstStyle/>
          <a:p>
            <a:pPr>
              <a:defRPr/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3457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87" r:id="rId1"/>
    <p:sldLayoutId id="2147485288" r:id="rId2"/>
    <p:sldLayoutId id="2147485289" r:id="rId3"/>
    <p:sldLayoutId id="2147485290" r:id="rId4"/>
    <p:sldLayoutId id="2147485291" r:id="rId5"/>
    <p:sldLayoutId id="2147485292" r:id="rId6"/>
  </p:sldLayoutIdLst>
  <p:transition/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5pPr>
      <a:lvl6pPr marL="456516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6pPr>
      <a:lvl7pPr marL="913032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7pPr>
      <a:lvl8pPr marL="1369548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8pPr>
      <a:lvl9pPr marL="1826065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9pPr>
    </p:titleStyle>
    <p:bodyStyle>
      <a:lvl1pPr marL="342388" indent="-342388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1840" indent="-285324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1290" indent="-228258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597806" indent="-228258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4323" indent="-228258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0839" indent="-228258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67356" indent="-228258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3872" indent="-228258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0388" indent="-228258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16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32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548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065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581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098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615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130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93163" y="6618288"/>
            <a:ext cx="350837" cy="23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latin typeface="Arial Narrow" pitchFamily="34" charset="0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fld id="{08E2C1D3-C63D-4985-B9DB-905F79F92D59}" type="slidenum">
              <a:rPr lang="en-US" b="1" kern="1200">
                <a:solidFill>
                  <a:srgbClr val="000000"/>
                </a:solidFill>
                <a:ea typeface="+mn-ea"/>
                <a:cs typeface="+mn-cs"/>
              </a:rPr>
              <a:pPr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b="1" kern="1200" dirty="0">
              <a:solidFill>
                <a:srgbClr val="000000"/>
              </a:solidFill>
              <a:ea typeface="+mn-ea"/>
              <a:cs typeface="+mn-cs"/>
            </a:endParaRPr>
          </a:p>
        </p:txBody>
      </p:sp>
      <p:pic>
        <p:nvPicPr>
          <p:cNvPr id="1027" name="Picture 7" descr="DAU-logo-only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6200" y="117475"/>
            <a:ext cx="150653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Line 8"/>
          <p:cNvSpPr>
            <a:spLocks noChangeShapeType="1"/>
          </p:cNvSpPr>
          <p:nvPr userDrawn="1"/>
        </p:nvSpPr>
        <p:spPr bwMode="auto">
          <a:xfrm>
            <a:off x="0" y="1057275"/>
            <a:ext cx="9144000" cy="0"/>
          </a:xfrm>
          <a:prstGeom prst="line">
            <a:avLst/>
          </a:prstGeom>
          <a:noFill/>
          <a:ln w="28575">
            <a:solidFill>
              <a:srgbClr val="D21034"/>
            </a:solidFill>
            <a:round/>
            <a:headEnd/>
            <a:tailEnd/>
          </a:ln>
          <a:effectLst/>
        </p:spPr>
        <p:txBody>
          <a:bodyPr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b="1" kern="1200" dirty="0">
              <a:solidFill>
                <a:srgbClr val="000000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033" name="Line 9"/>
          <p:cNvSpPr>
            <a:spLocks noChangeShapeType="1"/>
          </p:cNvSpPr>
          <p:nvPr userDrawn="1"/>
        </p:nvSpPr>
        <p:spPr bwMode="auto">
          <a:xfrm>
            <a:off x="-6350" y="984250"/>
            <a:ext cx="9144000" cy="0"/>
          </a:xfrm>
          <a:prstGeom prst="line">
            <a:avLst/>
          </a:prstGeom>
          <a:noFill/>
          <a:ln w="57150">
            <a:solidFill>
              <a:srgbClr val="E4C191"/>
            </a:solidFill>
            <a:round/>
            <a:headEnd/>
            <a:tailEnd/>
          </a:ln>
          <a:effectLst/>
        </p:spPr>
        <p:txBody>
          <a:bodyPr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b="1" kern="1200" dirty="0">
              <a:solidFill>
                <a:srgbClr val="000000"/>
              </a:solidFill>
              <a:latin typeface="Arial" charset="0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14" r:id="rId1"/>
    <p:sldLayoutId id="2147484415" r:id="rId2"/>
    <p:sldLayoutId id="2147484416" r:id="rId3"/>
    <p:sldLayoutId id="2147484417" r:id="rId4"/>
    <p:sldLayoutId id="2147484418" r:id="rId5"/>
    <p:sldLayoutId id="2147484419" r:id="rId6"/>
  </p:sldLayoutIdLst>
  <p:transition/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5pPr>
      <a:lvl6pPr marL="457200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6pPr>
      <a:lvl7pPr marL="914400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7pPr>
      <a:lvl8pPr marL="1371600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8pPr>
      <a:lvl9pPr marL="1828800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93169" y="6618288"/>
            <a:ext cx="350837" cy="23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02" tIns="45653" rIns="91302" bIns="45653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latin typeface="Arial Narrow" pitchFamily="34" charset="0"/>
              </a:defRPr>
            </a:lvl1pPr>
          </a:lstStyle>
          <a:p>
            <a:pPr>
              <a:defRPr/>
            </a:pPr>
            <a:fld id="{08E2C1D3-C63D-4985-B9DB-905F79F92D5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27" name="Picture 7" descr="DAU-logo-only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6200" y="117478"/>
            <a:ext cx="150653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Line 8"/>
          <p:cNvSpPr>
            <a:spLocks noChangeShapeType="1"/>
          </p:cNvSpPr>
          <p:nvPr userDrawn="1"/>
        </p:nvSpPr>
        <p:spPr bwMode="auto">
          <a:xfrm>
            <a:off x="0" y="1057275"/>
            <a:ext cx="9144000" cy="0"/>
          </a:xfrm>
          <a:prstGeom prst="line">
            <a:avLst/>
          </a:prstGeom>
          <a:noFill/>
          <a:ln w="28575">
            <a:solidFill>
              <a:srgbClr val="D21034"/>
            </a:solidFill>
            <a:round/>
            <a:headEnd/>
            <a:tailEnd/>
          </a:ln>
          <a:effectLst/>
        </p:spPr>
        <p:txBody>
          <a:bodyPr lIns="91302" tIns="45653" rIns="91302" bIns="45653"/>
          <a:lstStyle/>
          <a:p>
            <a:pPr>
              <a:defRPr/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 userDrawn="1"/>
        </p:nvSpPr>
        <p:spPr bwMode="auto">
          <a:xfrm>
            <a:off x="-6350" y="984250"/>
            <a:ext cx="9144000" cy="0"/>
          </a:xfrm>
          <a:prstGeom prst="line">
            <a:avLst/>
          </a:prstGeom>
          <a:noFill/>
          <a:ln w="57150">
            <a:solidFill>
              <a:srgbClr val="E4C191"/>
            </a:solidFill>
            <a:round/>
            <a:headEnd/>
            <a:tailEnd/>
          </a:ln>
          <a:effectLst/>
        </p:spPr>
        <p:txBody>
          <a:bodyPr lIns="91302" tIns="45653" rIns="91302" bIns="45653"/>
          <a:lstStyle/>
          <a:p>
            <a:pPr>
              <a:defRPr/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7209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28" r:id="rId1"/>
    <p:sldLayoutId id="2147485329" r:id="rId2"/>
    <p:sldLayoutId id="2147485330" r:id="rId3"/>
    <p:sldLayoutId id="2147485331" r:id="rId4"/>
    <p:sldLayoutId id="2147485332" r:id="rId5"/>
    <p:sldLayoutId id="2147485333" r:id="rId6"/>
  </p:sldLayoutIdLst>
  <p:transition/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5pPr>
      <a:lvl6pPr marL="456516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6pPr>
      <a:lvl7pPr marL="913032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7pPr>
      <a:lvl8pPr marL="1369548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8pPr>
      <a:lvl9pPr marL="1826065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9pPr>
    </p:titleStyle>
    <p:bodyStyle>
      <a:lvl1pPr marL="342388" indent="-342388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1840" indent="-285324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1290" indent="-228258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597806" indent="-228258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4323" indent="-228258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0839" indent="-228258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67356" indent="-228258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3872" indent="-228258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0388" indent="-228258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16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32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548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065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581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098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615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130" algn="l" defTabSz="913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fld id="{5BA7080F-D3C3-43F5-AA46-12F9A254EAC5}" type="datetime1">
              <a:rPr lang="en-US" b="0" smtClean="0">
                <a:solidFill>
                  <a:srgbClr val="000000"/>
                </a:solidFill>
              </a:rPr>
              <a:t>5/24/2019</a:t>
            </a:fld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fld id="{9D664FD5-1CE6-48AC-8649-FE680029F780}" type="slidenum">
              <a:rPr lang="en-US" b="0">
                <a:solidFill>
                  <a:srgbClr val="000000"/>
                </a:solidFill>
              </a:rPr>
              <a:pPr eaLnBrk="1" hangingPunct="1">
                <a:lnSpc>
                  <a:spcPct val="100000"/>
                </a:lnSpc>
                <a:defRPr/>
              </a:pPr>
              <a:t>‹#›</a:t>
            </a:fld>
            <a:endParaRPr lang="en-US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293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49" r:id="rId1"/>
    <p:sldLayoutId id="2147485350" r:id="rId2"/>
    <p:sldLayoutId id="2147485351" r:id="rId3"/>
    <p:sldLayoutId id="2147485352" r:id="rId4"/>
    <p:sldLayoutId id="2147485353" r:id="rId5"/>
    <p:sldLayoutId id="2147485354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293688" indent="-28575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520700" indent="-228600" algn="l" rtl="0" eaLnBrk="0" fontAlgn="base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3pPr>
      <a:lvl4pPr marL="792163" indent="-228600" algn="l" defTabSz="79533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036638" indent="-228600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93163" y="6618288"/>
            <a:ext cx="350837" cy="23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latin typeface="Arial Narrow" pitchFamily="34" charset="0"/>
              </a:defRPr>
            </a:lvl1pPr>
          </a:lstStyle>
          <a:p>
            <a:pPr>
              <a:defRPr/>
            </a:pPr>
            <a:fld id="{08E2C1D3-C63D-4985-B9DB-905F79F92D5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27" name="Picture 7" descr="DAU-logo-only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6200" y="117475"/>
            <a:ext cx="150653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Line 8"/>
          <p:cNvSpPr>
            <a:spLocks noChangeShapeType="1"/>
          </p:cNvSpPr>
          <p:nvPr userDrawn="1"/>
        </p:nvSpPr>
        <p:spPr bwMode="auto">
          <a:xfrm>
            <a:off x="0" y="1057275"/>
            <a:ext cx="9144000" cy="0"/>
          </a:xfrm>
          <a:prstGeom prst="line">
            <a:avLst/>
          </a:prstGeom>
          <a:noFill/>
          <a:ln w="28575">
            <a:solidFill>
              <a:srgbClr val="D21034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 userDrawn="1"/>
        </p:nvSpPr>
        <p:spPr bwMode="auto">
          <a:xfrm>
            <a:off x="-6350" y="984250"/>
            <a:ext cx="9144000" cy="0"/>
          </a:xfrm>
          <a:prstGeom prst="line">
            <a:avLst/>
          </a:prstGeom>
          <a:noFill/>
          <a:ln w="57150">
            <a:solidFill>
              <a:srgbClr val="E4C19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6616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82" r:id="rId1"/>
    <p:sldLayoutId id="2147485383" r:id="rId2"/>
    <p:sldLayoutId id="2147485384" r:id="rId3"/>
    <p:sldLayoutId id="2147485385" r:id="rId4"/>
    <p:sldLayoutId id="2147485386" r:id="rId5"/>
    <p:sldLayoutId id="2147485387" r:id="rId6"/>
    <p:sldLayoutId id="2147485388" r:id="rId7"/>
  </p:sldLayoutIdLst>
  <p:transition/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5pPr>
      <a:lvl6pPr marL="457200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6pPr>
      <a:lvl7pPr marL="914400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7pPr>
      <a:lvl8pPr marL="1371600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8pPr>
      <a:lvl9pPr marL="1828800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0821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91" r:id="rId1"/>
    <p:sldLayoutId id="2147485392" r:id="rId2"/>
    <p:sldLayoutId id="2147485393" r:id="rId3"/>
    <p:sldLayoutId id="2147485394" r:id="rId4"/>
    <p:sldLayoutId id="2147485395" r:id="rId5"/>
    <p:sldLayoutId id="2147485396" r:id="rId6"/>
    <p:sldLayoutId id="2147485397" r:id="rId7"/>
    <p:sldLayoutId id="2147485398" r:id="rId8"/>
    <p:sldLayoutId id="2147485399" r:id="rId9"/>
    <p:sldLayoutId id="2147485400" r:id="rId10"/>
    <p:sldLayoutId id="2147485401" r:id="rId1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DAU-logo-only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6200" y="117475"/>
            <a:ext cx="150653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8"/>
          <p:cNvGrpSpPr/>
          <p:nvPr userDrawn="1"/>
        </p:nvGrpSpPr>
        <p:grpSpPr>
          <a:xfrm>
            <a:off x="-6350" y="984250"/>
            <a:ext cx="9150350" cy="73025"/>
            <a:chOff x="-6350" y="984250"/>
            <a:chExt cx="9150350" cy="73025"/>
          </a:xfrm>
        </p:grpSpPr>
        <p:sp>
          <p:nvSpPr>
            <p:cNvPr id="6" name="Line 8"/>
            <p:cNvSpPr>
              <a:spLocks noChangeShapeType="1"/>
            </p:cNvSpPr>
            <p:nvPr userDrawn="1"/>
          </p:nvSpPr>
          <p:spPr bwMode="auto">
            <a:xfrm>
              <a:off x="0" y="1057275"/>
              <a:ext cx="9144000" cy="0"/>
            </a:xfrm>
            <a:prstGeom prst="line">
              <a:avLst/>
            </a:prstGeom>
            <a:noFill/>
            <a:ln w="28575">
              <a:solidFill>
                <a:srgbClr val="D21034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9"/>
            <p:cNvSpPr>
              <a:spLocks noChangeShapeType="1"/>
            </p:cNvSpPr>
            <p:nvPr userDrawn="1"/>
          </p:nvSpPr>
          <p:spPr bwMode="auto">
            <a:xfrm>
              <a:off x="-6350" y="984250"/>
              <a:ext cx="9144000" cy="0"/>
            </a:xfrm>
            <a:prstGeom prst="line">
              <a:avLst/>
            </a:prstGeom>
            <a:noFill/>
            <a:ln w="57150">
              <a:solidFill>
                <a:srgbClr val="E4C19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7" name="TextBox 6"/>
          <p:cNvSpPr txBox="1"/>
          <p:nvPr userDrawn="1"/>
        </p:nvSpPr>
        <p:spPr>
          <a:xfrm>
            <a:off x="8788400" y="6595674"/>
            <a:ext cx="3556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72BEB00-C7BA-49F0-86B2-023AD4AE668F}" type="slidenum">
              <a:rPr lang="en-US" sz="1200" smtClean="0">
                <a:solidFill>
                  <a:srgbClr val="000000"/>
                </a:solidFill>
              </a:rPr>
              <a:pPr algn="r"/>
              <a:t>‹#›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6691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03" r:id="rId1"/>
    <p:sldLayoutId id="2147485404" r:id="rId2"/>
    <p:sldLayoutId id="2147485405" r:id="rId3"/>
    <p:sldLayoutId id="2147485406" r:id="rId4"/>
    <p:sldLayoutId id="2147485407" r:id="rId5"/>
    <p:sldLayoutId id="2147485408" r:id="rId6"/>
    <p:sldLayoutId id="2147485409" r:id="rId7"/>
    <p:sldLayoutId id="2147485410" r:id="rId8"/>
  </p:sldLayoutIdLst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5pPr>
      <a:lvl6pPr marL="4572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6pPr>
      <a:lvl7pPr marL="9144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7pPr>
      <a:lvl8pPr marL="13716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8pPr>
      <a:lvl9pPr marL="18288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223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31" r:id="rId1"/>
    <p:sldLayoutId id="2147485432" r:id="rId2"/>
    <p:sldLayoutId id="2147485433" r:id="rId3"/>
    <p:sldLayoutId id="2147485434" r:id="rId4"/>
    <p:sldLayoutId id="2147485435" r:id="rId5"/>
    <p:sldLayoutId id="2147485436" r:id="rId6"/>
    <p:sldLayoutId id="2147485437" r:id="rId7"/>
    <p:sldLayoutId id="2147485438" r:id="rId8"/>
    <p:sldLayoutId id="2147485439" r:id="rId9"/>
    <p:sldLayoutId id="2147485440" r:id="rId10"/>
    <p:sldLayoutId id="2147485441" r:id="rId11"/>
    <p:sldLayoutId id="2147485443" r:id="rId1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DAU-logo-only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6200" y="117475"/>
            <a:ext cx="150653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8"/>
          <p:cNvGrpSpPr/>
          <p:nvPr userDrawn="1"/>
        </p:nvGrpSpPr>
        <p:grpSpPr>
          <a:xfrm>
            <a:off x="-6350" y="984250"/>
            <a:ext cx="9150350" cy="73025"/>
            <a:chOff x="-6350" y="984250"/>
            <a:chExt cx="9150350" cy="73025"/>
          </a:xfrm>
        </p:grpSpPr>
        <p:sp>
          <p:nvSpPr>
            <p:cNvPr id="6" name="Line 8"/>
            <p:cNvSpPr>
              <a:spLocks noChangeShapeType="1"/>
            </p:cNvSpPr>
            <p:nvPr userDrawn="1"/>
          </p:nvSpPr>
          <p:spPr bwMode="auto">
            <a:xfrm>
              <a:off x="0" y="1057275"/>
              <a:ext cx="9144000" cy="0"/>
            </a:xfrm>
            <a:prstGeom prst="line">
              <a:avLst/>
            </a:prstGeom>
            <a:noFill/>
            <a:ln w="28575">
              <a:solidFill>
                <a:srgbClr val="D21034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9"/>
            <p:cNvSpPr>
              <a:spLocks noChangeShapeType="1"/>
            </p:cNvSpPr>
            <p:nvPr userDrawn="1"/>
          </p:nvSpPr>
          <p:spPr bwMode="auto">
            <a:xfrm>
              <a:off x="-6350" y="984250"/>
              <a:ext cx="9144000" cy="0"/>
            </a:xfrm>
            <a:prstGeom prst="line">
              <a:avLst/>
            </a:prstGeom>
            <a:noFill/>
            <a:ln w="57150">
              <a:solidFill>
                <a:srgbClr val="E4C19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7" name="TextBox 6"/>
          <p:cNvSpPr txBox="1"/>
          <p:nvPr userDrawn="1"/>
        </p:nvSpPr>
        <p:spPr>
          <a:xfrm>
            <a:off x="8788400" y="6595674"/>
            <a:ext cx="3556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72BEB00-C7BA-49F0-86B2-023AD4AE668F}" type="slidenum">
              <a:rPr lang="en-US" sz="1200" smtClean="0">
                <a:solidFill>
                  <a:srgbClr val="000000"/>
                </a:solidFill>
              </a:rPr>
              <a:pPr algn="r"/>
              <a:t>‹#›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8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87" r:id="rId1"/>
    <p:sldLayoutId id="2147485488" r:id="rId2"/>
    <p:sldLayoutId id="2147485489" r:id="rId3"/>
    <p:sldLayoutId id="2147485490" r:id="rId4"/>
    <p:sldLayoutId id="2147485491" r:id="rId5"/>
    <p:sldLayoutId id="2147485492" r:id="rId6"/>
    <p:sldLayoutId id="2147485493" r:id="rId7"/>
  </p:sldLayoutIdLst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5pPr>
      <a:lvl6pPr marL="4572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6pPr>
      <a:lvl7pPr marL="9144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7pPr>
      <a:lvl8pPr marL="13716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8pPr>
      <a:lvl9pPr marL="18288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DAU-logo-only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6200" y="117475"/>
            <a:ext cx="150653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8"/>
          <p:cNvGrpSpPr/>
          <p:nvPr userDrawn="1"/>
        </p:nvGrpSpPr>
        <p:grpSpPr>
          <a:xfrm>
            <a:off x="-6350" y="984250"/>
            <a:ext cx="9150350" cy="73025"/>
            <a:chOff x="-6350" y="984250"/>
            <a:chExt cx="9150350" cy="73025"/>
          </a:xfrm>
        </p:grpSpPr>
        <p:sp>
          <p:nvSpPr>
            <p:cNvPr id="6" name="Line 8"/>
            <p:cNvSpPr>
              <a:spLocks noChangeShapeType="1"/>
            </p:cNvSpPr>
            <p:nvPr userDrawn="1"/>
          </p:nvSpPr>
          <p:spPr bwMode="auto">
            <a:xfrm>
              <a:off x="0" y="1057275"/>
              <a:ext cx="9144000" cy="0"/>
            </a:xfrm>
            <a:prstGeom prst="line">
              <a:avLst/>
            </a:prstGeom>
            <a:noFill/>
            <a:ln w="28575">
              <a:solidFill>
                <a:srgbClr val="D21034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9"/>
            <p:cNvSpPr>
              <a:spLocks noChangeShapeType="1"/>
            </p:cNvSpPr>
            <p:nvPr userDrawn="1"/>
          </p:nvSpPr>
          <p:spPr bwMode="auto">
            <a:xfrm>
              <a:off x="-6350" y="984250"/>
              <a:ext cx="9144000" cy="0"/>
            </a:xfrm>
            <a:prstGeom prst="line">
              <a:avLst/>
            </a:prstGeom>
            <a:noFill/>
            <a:ln w="57150">
              <a:solidFill>
                <a:srgbClr val="E4C19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7" name="TextBox 6"/>
          <p:cNvSpPr txBox="1"/>
          <p:nvPr userDrawn="1"/>
        </p:nvSpPr>
        <p:spPr>
          <a:xfrm>
            <a:off x="8788400" y="6595674"/>
            <a:ext cx="3556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72BEB00-C7BA-49F0-86B2-023AD4AE668F}" type="slidenum">
              <a:rPr lang="en-US" sz="1200" smtClean="0">
                <a:solidFill>
                  <a:srgbClr val="000000"/>
                </a:solidFill>
              </a:rPr>
              <a:pPr algn="r"/>
              <a:t>‹#›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695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09" r:id="rId1"/>
    <p:sldLayoutId id="2147485510" r:id="rId2"/>
    <p:sldLayoutId id="2147485511" r:id="rId3"/>
    <p:sldLayoutId id="2147485512" r:id="rId4"/>
    <p:sldLayoutId id="2147485513" r:id="rId5"/>
    <p:sldLayoutId id="2147485514" r:id="rId6"/>
    <p:sldLayoutId id="2147485515" r:id="rId7"/>
    <p:sldLayoutId id="2147485516" r:id="rId8"/>
  </p:sldLayoutIdLst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5pPr>
      <a:lvl6pPr marL="4572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6pPr>
      <a:lvl7pPr marL="9144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7pPr>
      <a:lvl8pPr marL="13716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8pPr>
      <a:lvl9pPr marL="18288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DAU-logo-only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6200" y="117475"/>
            <a:ext cx="150653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8"/>
          <p:cNvGrpSpPr/>
          <p:nvPr userDrawn="1"/>
        </p:nvGrpSpPr>
        <p:grpSpPr>
          <a:xfrm>
            <a:off x="-6350" y="984250"/>
            <a:ext cx="9150350" cy="73025"/>
            <a:chOff x="-6350" y="984250"/>
            <a:chExt cx="9150350" cy="73025"/>
          </a:xfrm>
        </p:grpSpPr>
        <p:sp>
          <p:nvSpPr>
            <p:cNvPr id="6" name="Line 8"/>
            <p:cNvSpPr>
              <a:spLocks noChangeShapeType="1"/>
            </p:cNvSpPr>
            <p:nvPr userDrawn="1"/>
          </p:nvSpPr>
          <p:spPr bwMode="auto">
            <a:xfrm>
              <a:off x="0" y="1057275"/>
              <a:ext cx="9144000" cy="0"/>
            </a:xfrm>
            <a:prstGeom prst="line">
              <a:avLst/>
            </a:prstGeom>
            <a:noFill/>
            <a:ln w="28575">
              <a:solidFill>
                <a:srgbClr val="D21034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9"/>
            <p:cNvSpPr>
              <a:spLocks noChangeShapeType="1"/>
            </p:cNvSpPr>
            <p:nvPr userDrawn="1"/>
          </p:nvSpPr>
          <p:spPr bwMode="auto">
            <a:xfrm>
              <a:off x="-6350" y="984250"/>
              <a:ext cx="9144000" cy="0"/>
            </a:xfrm>
            <a:prstGeom prst="line">
              <a:avLst/>
            </a:prstGeom>
            <a:noFill/>
            <a:ln w="57150">
              <a:solidFill>
                <a:srgbClr val="E4C19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7" name="TextBox 6"/>
          <p:cNvSpPr txBox="1"/>
          <p:nvPr userDrawn="1"/>
        </p:nvSpPr>
        <p:spPr>
          <a:xfrm>
            <a:off x="8788400" y="6595674"/>
            <a:ext cx="3556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72BEB00-C7BA-49F0-86B2-023AD4AE668F}" type="slidenum">
              <a:rPr lang="en-US" sz="1200" smtClean="0">
                <a:solidFill>
                  <a:srgbClr val="000000"/>
                </a:solidFill>
              </a:rPr>
              <a:pPr algn="r"/>
              <a:t>‹#›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1697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18" r:id="rId1"/>
    <p:sldLayoutId id="2147485519" r:id="rId2"/>
    <p:sldLayoutId id="2147485520" r:id="rId3"/>
    <p:sldLayoutId id="2147485521" r:id="rId4"/>
    <p:sldLayoutId id="2147485522" r:id="rId5"/>
    <p:sldLayoutId id="2147485523" r:id="rId6"/>
    <p:sldLayoutId id="2147485524" r:id="rId7"/>
    <p:sldLayoutId id="2147485525" r:id="rId8"/>
  </p:sldLayoutIdLst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5pPr>
      <a:lvl6pPr marL="4572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6pPr>
      <a:lvl7pPr marL="9144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7pPr>
      <a:lvl8pPr marL="13716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8pPr>
      <a:lvl9pPr marL="18288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fld id="{D5F74EA1-54C3-44B0-889D-E258589D876D}" type="datetime1">
              <a:rPr lang="en-US" b="0" smtClean="0">
                <a:solidFill>
                  <a:srgbClr val="000000"/>
                </a:solidFill>
              </a:rPr>
              <a:t>5/24/2019</a:t>
            </a:fld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fld id="{9D664FD5-1CE6-48AC-8649-FE680029F780}" type="slidenum">
              <a:rPr lang="en-US" b="0">
                <a:solidFill>
                  <a:srgbClr val="000000"/>
                </a:solidFill>
              </a:rPr>
              <a:pPr eaLnBrk="1" hangingPunct="1">
                <a:lnSpc>
                  <a:spcPct val="100000"/>
                </a:lnSpc>
                <a:defRPr/>
              </a:pPr>
              <a:t>‹#›</a:t>
            </a:fld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788400" y="6595674"/>
            <a:ext cx="3556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72BEB00-C7BA-49F0-86B2-023AD4AE668F}" type="slidenum">
              <a:rPr lang="en-US" sz="1200" smtClean="0">
                <a:solidFill>
                  <a:srgbClr val="000000"/>
                </a:solidFill>
              </a:rPr>
              <a:pPr algn="r"/>
              <a:t>‹#›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444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94" r:id="rId1"/>
    <p:sldLayoutId id="2147486095" r:id="rId2"/>
    <p:sldLayoutId id="2147486096" r:id="rId3"/>
    <p:sldLayoutId id="2147486097" r:id="rId4"/>
    <p:sldLayoutId id="2147486098" r:id="rId5"/>
    <p:sldLayoutId id="2147486099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293688" indent="-28575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520700" indent="-228600" algn="l" rtl="0" eaLnBrk="0" fontAlgn="base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3pPr>
      <a:lvl4pPr marL="792163" indent="-228600" algn="l" defTabSz="79533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036638" indent="-228600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DAU-logo-only"/>
          <p:cNvPicPr>
            <a:picLocks noChangeAspect="1" noChangeArrowheads="1"/>
          </p:cNvPicPr>
          <p:nvPr userDrawn="1"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76200" y="117475"/>
            <a:ext cx="150653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8"/>
          <p:cNvSpPr>
            <a:spLocks noChangeShapeType="1"/>
          </p:cNvSpPr>
          <p:nvPr userDrawn="1"/>
        </p:nvSpPr>
        <p:spPr bwMode="auto">
          <a:xfrm>
            <a:off x="0" y="1057275"/>
            <a:ext cx="9144000" cy="0"/>
          </a:xfrm>
          <a:prstGeom prst="line">
            <a:avLst/>
          </a:prstGeom>
          <a:noFill/>
          <a:ln w="28575">
            <a:solidFill>
              <a:srgbClr val="D21034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 userDrawn="1"/>
        </p:nvSpPr>
        <p:spPr bwMode="auto">
          <a:xfrm>
            <a:off x="-6350" y="984250"/>
            <a:ext cx="9144000" cy="0"/>
          </a:xfrm>
          <a:prstGeom prst="line">
            <a:avLst/>
          </a:prstGeom>
          <a:noFill/>
          <a:ln w="57150">
            <a:solidFill>
              <a:srgbClr val="E4C19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788400" y="6595674"/>
            <a:ext cx="3556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72BEB00-C7BA-49F0-86B2-023AD4AE668F}" type="slidenum">
              <a:rPr lang="en-US" sz="1200" smtClean="0">
                <a:solidFill>
                  <a:srgbClr val="000000"/>
                </a:solidFill>
              </a:rPr>
              <a:pPr algn="r"/>
              <a:t>‹#›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52" r:id="rId1"/>
    <p:sldLayoutId id="2147484453" r:id="rId2"/>
    <p:sldLayoutId id="2147484454" r:id="rId3"/>
    <p:sldLayoutId id="2147484455" r:id="rId4"/>
    <p:sldLayoutId id="2147484456" r:id="rId5"/>
    <p:sldLayoutId id="2147484457" r:id="rId6"/>
    <p:sldLayoutId id="2147484458" r:id="rId7"/>
  </p:sldLayoutIdLst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5pPr>
      <a:lvl6pPr marL="4572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6pPr>
      <a:lvl7pPr marL="9144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7pPr>
      <a:lvl8pPr marL="13716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8pPr>
      <a:lvl9pPr marL="1828800" algn="ctr" rtl="0" fontAlgn="base">
        <a:lnSpc>
          <a:spcPct val="85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93165" y="6618288"/>
            <a:ext cx="350837" cy="23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latin typeface="Arial Narrow" pitchFamily="34" charset="0"/>
              </a:defRPr>
            </a:lvl1pPr>
          </a:lstStyle>
          <a:p>
            <a:pPr>
              <a:defRPr/>
            </a:pPr>
            <a:fld id="{08E2C1D3-C63D-4985-B9DB-905F79F92D5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27" name="Picture 7" descr="DAU-logo-only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6200" y="117475"/>
            <a:ext cx="150653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Line 8"/>
          <p:cNvSpPr>
            <a:spLocks noChangeShapeType="1"/>
          </p:cNvSpPr>
          <p:nvPr userDrawn="1"/>
        </p:nvSpPr>
        <p:spPr bwMode="auto">
          <a:xfrm>
            <a:off x="0" y="1057276"/>
            <a:ext cx="9144000" cy="0"/>
          </a:xfrm>
          <a:prstGeom prst="line">
            <a:avLst/>
          </a:prstGeom>
          <a:noFill/>
          <a:ln w="28575">
            <a:solidFill>
              <a:srgbClr val="D21034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 userDrawn="1"/>
        </p:nvSpPr>
        <p:spPr bwMode="auto">
          <a:xfrm>
            <a:off x="-6350" y="984250"/>
            <a:ext cx="9144000" cy="0"/>
          </a:xfrm>
          <a:prstGeom prst="line">
            <a:avLst/>
          </a:prstGeom>
          <a:noFill/>
          <a:ln w="57150">
            <a:solidFill>
              <a:srgbClr val="E4C19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8757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01" r:id="rId1"/>
    <p:sldLayoutId id="2147486102" r:id="rId2"/>
    <p:sldLayoutId id="2147486103" r:id="rId3"/>
    <p:sldLayoutId id="2147486104" r:id="rId4"/>
    <p:sldLayoutId id="2147486105" r:id="rId5"/>
    <p:sldLayoutId id="2147486106" r:id="rId6"/>
    <p:sldLayoutId id="2147486107" r:id="rId7"/>
  </p:sldLayoutIdLst>
  <p:transition/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5pPr>
      <a:lvl6pPr marL="457200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6pPr>
      <a:lvl7pPr marL="914400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7pPr>
      <a:lvl8pPr marL="1371600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8pPr>
      <a:lvl9pPr marL="1828800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760"/>
            <a:ext cx="7886700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782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09" r:id="rId1"/>
    <p:sldLayoutId id="2147486110" r:id="rId2"/>
    <p:sldLayoutId id="2147486111" r:id="rId3"/>
    <p:sldLayoutId id="2147486112" r:id="rId4"/>
  </p:sldLayoutIdLst>
  <p:txStyles>
    <p:titleStyle>
      <a:lvl1pPr algn="ctr" defTabSz="761970" rtl="0" eaLnBrk="1" latinLnBrk="0" hangingPunct="1">
        <a:spcBef>
          <a:spcPct val="0"/>
        </a:spcBef>
        <a:buNone/>
        <a:defRPr sz="36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5739" indent="-285739" algn="l" defTabSz="7619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19100" indent="-238115" algn="l" defTabSz="7619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333" kern="1200">
          <a:solidFill>
            <a:schemeClr val="tx1"/>
          </a:solidFill>
          <a:latin typeface="+mn-lt"/>
          <a:ea typeface="+mn-ea"/>
          <a:cs typeface="+mn-cs"/>
        </a:defRPr>
      </a:lvl2pPr>
      <a:lvl3pPr marL="952462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33447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67" kern="1200">
          <a:solidFill>
            <a:schemeClr val="tx1"/>
          </a:solidFill>
          <a:latin typeface="+mn-lt"/>
          <a:ea typeface="+mn-ea"/>
          <a:cs typeface="+mn-cs"/>
        </a:defRPr>
      </a:lvl4pPr>
      <a:lvl5pPr marL="1714431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»"/>
        <a:defRPr sz="1667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7332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14" r:id="rId1"/>
    <p:sldLayoutId id="2147486115" r:id="rId2"/>
    <p:sldLayoutId id="2147486116" r:id="rId3"/>
    <p:sldLayoutId id="2147486117" r:id="rId4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fld id="{B8ADEDFA-DC98-4D2F-9F1C-C56DB8D8B4D9}" type="datetime1">
              <a:rPr lang="en-US" b="0" smtClean="0">
                <a:solidFill>
                  <a:srgbClr val="000000"/>
                </a:solidFill>
              </a:rPr>
              <a:pPr eaLnBrk="1" hangingPunct="1">
                <a:lnSpc>
                  <a:spcPct val="100000"/>
                </a:lnSpc>
                <a:defRPr/>
              </a:pPr>
              <a:t>5/24/2019</a:t>
            </a:fld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fld id="{9D664FD5-1CE6-48AC-8649-FE680029F780}" type="slidenum">
              <a:rPr lang="en-US" b="0">
                <a:solidFill>
                  <a:srgbClr val="000000"/>
                </a:solidFill>
              </a:rPr>
              <a:pPr eaLnBrk="1" hangingPunct="1">
                <a:lnSpc>
                  <a:spcPct val="100000"/>
                </a:lnSpc>
                <a:defRPr/>
              </a:pPr>
              <a:t>‹#›</a:t>
            </a:fld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788400" y="6595674"/>
            <a:ext cx="3556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72BEB00-C7BA-49F0-86B2-023AD4AE668F}" type="slidenum">
              <a:rPr lang="en-US" sz="1200" smtClean="0">
                <a:solidFill>
                  <a:srgbClr val="000000"/>
                </a:solidFill>
              </a:rPr>
              <a:pPr algn="r"/>
              <a:t>‹#›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522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32" r:id="rId1"/>
    <p:sldLayoutId id="2147486133" r:id="rId2"/>
    <p:sldLayoutId id="2147486134" r:id="rId3"/>
    <p:sldLayoutId id="2147486135" r:id="rId4"/>
    <p:sldLayoutId id="2147486136" r:id="rId5"/>
    <p:sldLayoutId id="2147486137" r:id="rId6"/>
  </p:sldLayoutIdLst>
  <p:timing>
    <p:tnLst>
      <p:par>
        <p:cTn id="1" dur="indefinite" restart="never" nodeType="tmRoot"/>
      </p:par>
    </p:tnLst>
  </p:timing>
  <p:hf sldNum="0"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293688" indent="-28575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520700" indent="-228600" algn="l" rtl="0" eaLnBrk="0" fontAlgn="base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3pPr>
      <a:lvl4pPr marL="792163" indent="-228600" algn="l" defTabSz="79533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036638" indent="-228600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8F6010E3-3043-463B-A886-79F754037FA2}" type="datetimeFigureOut">
              <a:rPr lang="en-US" b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5/24/2019</a:t>
            </a:fld>
            <a:endParaRPr lang="en-US" b="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7E4260AF-5DB2-4177-B971-D8B5028A0E1A}" type="slidenum">
              <a:rPr lang="en-US" b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b="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09654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39" r:id="rId1"/>
    <p:sldLayoutId id="2147486140" r:id="rId2"/>
    <p:sldLayoutId id="2147486141" r:id="rId3"/>
    <p:sldLayoutId id="2147486142" r:id="rId4"/>
    <p:sldLayoutId id="2147486143" r:id="rId5"/>
    <p:sldLayoutId id="2147486144" r:id="rId6"/>
    <p:sldLayoutId id="2147486145" r:id="rId7"/>
    <p:sldLayoutId id="2147486146" r:id="rId8"/>
    <p:sldLayoutId id="2147486147" r:id="rId9"/>
    <p:sldLayoutId id="2147486148" r:id="rId10"/>
    <p:sldLayoutId id="214748614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hangingPunct="1">
              <a:lnSpc>
                <a:spcPct val="100000"/>
              </a:lnSpc>
            </a:pPr>
            <a:fld id="{018288A1-15B4-4EAA-9D17-C7859744469A}" type="datetimeFigureOut">
              <a:rPr lang="en-US" b="0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eaLnBrk="1" hangingPunct="1">
                <a:lnSpc>
                  <a:spcPct val="100000"/>
                </a:lnSpc>
              </a:pPr>
              <a:t>5/24/2019</a:t>
            </a:fld>
            <a:endParaRPr lang="en-US" b="0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hangingPunct="1">
              <a:lnSpc>
                <a:spcPct val="100000"/>
              </a:lnSpc>
            </a:pPr>
            <a:endParaRPr lang="en-US" b="0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hangingPunct="1">
              <a:lnSpc>
                <a:spcPct val="100000"/>
              </a:lnSpc>
            </a:pPr>
            <a:fld id="{6A905A8A-096A-4F46-954E-2CD7984D4321}" type="slidenum">
              <a:rPr lang="en-US" b="0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eaLnBrk="1" hangingPunct="1">
                <a:lnSpc>
                  <a:spcPct val="100000"/>
                </a:lnSpc>
              </a:pPr>
              <a:t>‹#›</a:t>
            </a:fld>
            <a:endParaRPr lang="en-US" b="0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1721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51" r:id="rId1"/>
    <p:sldLayoutId id="2147486152" r:id="rId2"/>
    <p:sldLayoutId id="2147486153" r:id="rId3"/>
    <p:sldLayoutId id="2147486154" r:id="rId4"/>
    <p:sldLayoutId id="2147486155" r:id="rId5"/>
    <p:sldLayoutId id="2147486156" r:id="rId6"/>
    <p:sldLayoutId id="2147486157" r:id="rId7"/>
    <p:sldLayoutId id="2147486158" r:id="rId8"/>
    <p:sldLayoutId id="2147486159" r:id="rId9"/>
    <p:sldLayoutId id="2147486160" r:id="rId10"/>
    <p:sldLayoutId id="214748616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8248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63" r:id="rId1"/>
    <p:sldLayoutId id="2147486164" r:id="rId2"/>
    <p:sldLayoutId id="2147486165" r:id="rId3"/>
    <p:sldLayoutId id="2147486166" r:id="rId4"/>
    <p:sldLayoutId id="2147486167" r:id="rId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1940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82" r:id="rId1"/>
    <p:sldLayoutId id="2147486183" r:id="rId2"/>
    <p:sldLayoutId id="2147486184" r:id="rId3"/>
    <p:sldLayoutId id="2147486185" r:id="rId4"/>
    <p:sldLayoutId id="2147486186" r:id="rId5"/>
    <p:sldLayoutId id="2147486187" r:id="rId6"/>
    <p:sldLayoutId id="2147486188" r:id="rId7"/>
    <p:sldLayoutId id="2147486189" r:id="rId8"/>
    <p:sldLayoutId id="2147486190" r:id="rId9"/>
    <p:sldLayoutId id="2147486191" r:id="rId10"/>
    <p:sldLayoutId id="2147486192" r:id="rId11"/>
    <p:sldLayoutId id="2147486194" r:id="rId12"/>
    <p:sldLayoutId id="2147486195" r:id="rId13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14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lum bright="-6000" contrast="-6000"/>
          </a:blip>
          <a:srcRect/>
          <a:stretch>
            <a:fillRect/>
          </a:stretch>
        </p:blipFill>
        <p:spPr bwMode="auto">
          <a:xfrm>
            <a:off x="152400" y="50800"/>
            <a:ext cx="10556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7"/>
          <p:cNvGrpSpPr>
            <a:grpSpLocks/>
          </p:cNvGrpSpPr>
          <p:nvPr userDrawn="1"/>
        </p:nvGrpSpPr>
        <p:grpSpPr bwMode="auto">
          <a:xfrm>
            <a:off x="1020763" y="1114425"/>
            <a:ext cx="7924800" cy="41275"/>
            <a:chOff x="368" y="846"/>
            <a:chExt cx="4992" cy="26"/>
          </a:xfrm>
        </p:grpSpPr>
        <p:sp>
          <p:nvSpPr>
            <p:cNvPr id="10" name="Line 18"/>
            <p:cNvSpPr>
              <a:spLocks noChangeShapeType="1"/>
            </p:cNvSpPr>
            <p:nvPr/>
          </p:nvSpPr>
          <p:spPr bwMode="auto">
            <a:xfrm>
              <a:off x="368" y="846"/>
              <a:ext cx="4992" cy="0"/>
            </a:xfrm>
            <a:prstGeom prst="line">
              <a:avLst/>
            </a:prstGeom>
            <a:noFill/>
            <a:ln w="28575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" name="Line 19"/>
            <p:cNvSpPr>
              <a:spLocks noChangeShapeType="1"/>
            </p:cNvSpPr>
            <p:nvPr/>
          </p:nvSpPr>
          <p:spPr bwMode="auto">
            <a:xfrm>
              <a:off x="368" y="872"/>
              <a:ext cx="4992" cy="0"/>
            </a:xfrm>
            <a:prstGeom prst="line">
              <a:avLst/>
            </a:prstGeom>
            <a:noFill/>
            <a:ln w="28575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US" sz="1800" b="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FontTx/>
              <a:buNone/>
              <a:defRPr sz="1400" b="0">
                <a:solidFill>
                  <a:srgbClr val="000000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fld id="{368205D5-F465-464F-8944-12E40F5F132C}" type="datetime1">
              <a:rPr lang="en-US" smtClean="0"/>
              <a:t>5/24/2019</a:t>
            </a:fld>
            <a:endParaRPr lang="en-US" dirty="0"/>
          </a:p>
        </p:txBody>
      </p:sp>
      <p:sp>
        <p:nvSpPr>
          <p:cNvPr id="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ClrTx/>
              <a:buFontTx/>
              <a:buNone/>
              <a:defRPr sz="1400" b="0">
                <a:solidFill>
                  <a:srgbClr val="000000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endParaRPr lang="en-US" dirty="0"/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FontTx/>
              <a:buNone/>
              <a:defRPr sz="1400" b="0">
                <a:solidFill>
                  <a:srgbClr val="000000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fld id="{610F5D48-DBDA-453E-A9C1-EA649FAFA0AE}" type="slidenum">
              <a:rPr lang="en-US"/>
              <a:pPr eaLnBrk="1" hangingPunct="1">
                <a:lnSpc>
                  <a:spcPct val="100000"/>
                </a:lnSpc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87" r:id="rId1"/>
    <p:sldLayoutId id="2147484488" r:id="rId2"/>
    <p:sldLayoutId id="2147484489" r:id="rId3"/>
    <p:sldLayoutId id="2147484490" r:id="rId4"/>
    <p:sldLayoutId id="2147484491" r:id="rId5"/>
    <p:sldLayoutId id="2147484492" r:id="rId6"/>
    <p:sldLayoutId id="2147484493" r:id="rId7"/>
    <p:sldLayoutId id="2147484494" r:id="rId8"/>
    <p:sldLayoutId id="2147484495" r:id="rId9"/>
    <p:sldLayoutId id="2147484496" r:id="rId10"/>
    <p:sldLayoutId id="2147484497" r:id="rId11"/>
    <p:sldLayoutId id="2147484498" r:id="rId12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293688" indent="-28575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520700" indent="-228600" algn="l" rtl="0" eaLnBrk="0" fontAlgn="base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3pPr>
      <a:lvl4pPr marL="792163" indent="-228600" algn="l" defTabSz="79533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036638" indent="-228600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1493838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1951038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2408238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865438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fld id="{37E51D9A-856F-446D-9D5E-889C692B61B6}" type="datetime1">
              <a:rPr lang="en-US" b="0" smtClean="0">
                <a:solidFill>
                  <a:srgbClr val="000000"/>
                </a:solidFill>
              </a:rPr>
              <a:t>5/24/2019</a:t>
            </a:fld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fld id="{C0B76D2C-DFA8-49F0-85C5-32BF2BA6C812}" type="slidenum">
              <a:rPr lang="en-US" b="0">
                <a:solidFill>
                  <a:srgbClr val="000000"/>
                </a:solidFill>
              </a:rPr>
              <a:pPr eaLnBrk="1" hangingPunct="1">
                <a:lnSpc>
                  <a:spcPct val="100000"/>
                </a:lnSpc>
                <a:defRPr/>
              </a:pPr>
              <a:t>‹#›</a:t>
            </a:fld>
            <a:endParaRPr lang="en-US" b="0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14" r:id="rId1"/>
    <p:sldLayoutId id="2147484515" r:id="rId2"/>
    <p:sldLayoutId id="2147484516" r:id="rId3"/>
    <p:sldLayoutId id="2147484517" r:id="rId4"/>
    <p:sldLayoutId id="2147484518" r:id="rId5"/>
    <p:sldLayoutId id="2147484519" r:id="rId6"/>
    <p:sldLayoutId id="2147484520" r:id="rId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293688" indent="-28575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520700" indent="-228600" algn="l" rtl="0" eaLnBrk="0" fontAlgn="base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3pPr>
      <a:lvl4pPr marL="792163" indent="-228600" algn="l" defTabSz="79533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036638" indent="-228600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fld id="{140A74E2-B407-4D45-AAE3-49B1112F170A}" type="datetime1">
              <a:rPr lang="en-US" b="0" smtClean="0">
                <a:solidFill>
                  <a:srgbClr val="000000"/>
                </a:solidFill>
              </a:rPr>
              <a:t>5/24/2019</a:t>
            </a:fld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fld id="{9D664FD5-1CE6-48AC-8649-FE680029F780}" type="slidenum">
              <a:rPr lang="en-US" b="0">
                <a:solidFill>
                  <a:srgbClr val="000000"/>
                </a:solidFill>
              </a:rPr>
              <a:pPr eaLnBrk="1" hangingPunct="1">
                <a:lnSpc>
                  <a:spcPct val="100000"/>
                </a:lnSpc>
                <a:defRPr/>
              </a:pPr>
              <a:t>‹#›</a:t>
            </a:fld>
            <a:endParaRPr lang="en-US" b="0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22" r:id="rId1"/>
    <p:sldLayoutId id="2147484523" r:id="rId2"/>
    <p:sldLayoutId id="2147484524" r:id="rId3"/>
    <p:sldLayoutId id="2147484525" r:id="rId4"/>
    <p:sldLayoutId id="2147484526" r:id="rId5"/>
    <p:sldLayoutId id="2147484527" r:id="rId6"/>
    <p:sldLayoutId id="2147484528" r:id="rId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293688" indent="-28575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520700" indent="-228600" algn="l" rtl="0" eaLnBrk="0" fontAlgn="base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3pPr>
      <a:lvl4pPr marL="792163" indent="-228600" algn="l" defTabSz="79533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036638" indent="-228600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fld id="{1EC505F0-C44E-453C-97A1-7924F351370D}" type="datetime1">
              <a:rPr lang="en-US" b="0" smtClean="0">
                <a:solidFill>
                  <a:srgbClr val="000000"/>
                </a:solidFill>
              </a:rPr>
              <a:t>5/24/2019</a:t>
            </a:fld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1" hangingPunct="1">
              <a:lnSpc>
                <a:spcPct val="100000"/>
              </a:lnSpc>
              <a:defRPr/>
            </a:pPr>
            <a:fld id="{9D664FD5-1CE6-48AC-8649-FE680029F780}" type="slidenum">
              <a:rPr lang="en-US" b="0">
                <a:solidFill>
                  <a:srgbClr val="000000"/>
                </a:solidFill>
              </a:rPr>
              <a:pPr eaLnBrk="1" hangingPunct="1">
                <a:lnSpc>
                  <a:spcPct val="100000"/>
                </a:lnSpc>
                <a:defRPr/>
              </a:pPr>
              <a:t>‹#›</a:t>
            </a:fld>
            <a:endParaRPr lang="en-US" b="0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11" r:id="rId1"/>
    <p:sldLayoutId id="2147484612" r:id="rId2"/>
    <p:sldLayoutId id="2147484613" r:id="rId3"/>
    <p:sldLayoutId id="2147484614" r:id="rId4"/>
    <p:sldLayoutId id="2147484615" r:id="rId5"/>
    <p:sldLayoutId id="2147484616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293688" indent="-28575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520700" indent="-228600" algn="l" rtl="0" eaLnBrk="0" fontAlgn="base" hangingPunct="0">
        <a:spcBef>
          <a:spcPct val="20000"/>
        </a:spcBef>
        <a:spcAft>
          <a:spcPct val="0"/>
        </a:spcAft>
        <a:buSzPct val="80000"/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3pPr>
      <a:lvl4pPr marL="792163" indent="-228600" algn="l" defTabSz="79533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036638" indent="-228600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 descr="prtm_wmf_final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28600" y="6172200"/>
            <a:ext cx="1143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27013"/>
            <a:ext cx="8229600" cy="79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45711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50950"/>
            <a:ext cx="8229600" cy="467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457200" y="1022350"/>
            <a:ext cx="8229600" cy="0"/>
          </a:xfrm>
          <a:prstGeom prst="line">
            <a:avLst/>
          </a:prstGeom>
          <a:noFill/>
          <a:ln w="19050">
            <a:solidFill>
              <a:srgbClr val="CCCCCC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lnSpc>
                <a:spcPct val="100000"/>
              </a:lnSpc>
              <a:defRPr/>
            </a:pPr>
            <a:endParaRPr lang="en-US" sz="1600" b="0" dirty="0">
              <a:solidFill>
                <a:srgbClr val="333333"/>
              </a:solidFill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39" name="Rectangle 15"/>
          <p:cNvSpPr>
            <a:spLocks noChangeArrowheads="1"/>
          </p:cNvSpPr>
          <p:nvPr/>
        </p:nvSpPr>
        <p:spPr bwMode="auto">
          <a:xfrm>
            <a:off x="1524000" y="6172200"/>
            <a:ext cx="60245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182845" bIns="0" anchor="ctr"/>
          <a:lstStyle/>
          <a:p>
            <a:pPr algn="l">
              <a:lnSpc>
                <a:spcPct val="100000"/>
              </a:lnSpc>
              <a:defRPr/>
            </a:pPr>
            <a:r>
              <a:rPr lang="en-US" sz="800" dirty="0">
                <a:solidFill>
                  <a:srgbClr val="3A372F"/>
                </a:solidFill>
                <a:latin typeface="Arial" charset="0"/>
                <a:ea typeface="ＭＳ Ｐゴシック" pitchFamily="1" charset="-128"/>
                <a:cs typeface="Arial Unicode MS" pitchFamily="34" charset="-128"/>
              </a:rPr>
              <a:t>PRTM Report Template</a:t>
            </a:r>
            <a:r>
              <a:rPr lang="en-US" sz="800" dirty="0">
                <a:solidFill>
                  <a:srgbClr val="3A372F"/>
                </a:solidFill>
                <a:latin typeface="Arial" charset="0"/>
                <a:ea typeface="ＭＳ Ｐゴシック" pitchFamily="1" charset="-128"/>
                <a:cs typeface="Arial" charset="0"/>
              </a:rPr>
              <a:t>—</a:t>
            </a:r>
            <a:r>
              <a:rPr lang="en-US" sz="800" dirty="0">
                <a:solidFill>
                  <a:srgbClr val="3A372F"/>
                </a:solidFill>
                <a:latin typeface="Arial" charset="0"/>
                <a:ea typeface="ＭＳ Ｐゴシック" pitchFamily="1" charset="-128"/>
                <a:cs typeface="Arial Unicode MS" pitchFamily="34" charset="-128"/>
              </a:rPr>
              <a:t>30 September 2008 </a:t>
            </a:r>
            <a:r>
              <a:rPr lang="en-US" sz="800" b="0" dirty="0">
                <a:solidFill>
                  <a:srgbClr val="3A372F"/>
                </a:solidFill>
                <a:latin typeface="Arial" charset="0"/>
                <a:ea typeface="ＭＳ Ｐゴシック" pitchFamily="1" charset="-128"/>
                <a:cs typeface="Arial Unicode MS" pitchFamily="34" charset="-128"/>
              </a:rPr>
              <a:t>| © 2008 PRTM Proprietary</a:t>
            </a:r>
          </a:p>
        </p:txBody>
      </p:sp>
      <p:sp>
        <p:nvSpPr>
          <p:cNvPr id="8" name="Text Box 19"/>
          <p:cNvSpPr txBox="1">
            <a:spLocks noChangeArrowheads="1"/>
          </p:cNvSpPr>
          <p:nvPr/>
        </p:nvSpPr>
        <p:spPr bwMode="auto">
          <a:xfrm>
            <a:off x="8229600" y="6172200"/>
            <a:ext cx="4238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400" b="0" dirty="0">
                <a:solidFill>
                  <a:srgbClr val="999999"/>
                </a:solidFill>
                <a:latin typeface="Arial" charset="0"/>
                <a:ea typeface="ＭＳ Ｐゴシック" pitchFamily="1" charset="-128"/>
                <a:cs typeface="Arial Unicode MS" pitchFamily="34" charset="-128"/>
              </a:rPr>
              <a:t>|</a:t>
            </a:r>
            <a:r>
              <a:rPr lang="en-US" sz="1000" dirty="0">
                <a:solidFill>
                  <a:srgbClr val="3A372F"/>
                </a:solidFill>
                <a:latin typeface="Arial" charset="0"/>
                <a:ea typeface="ＭＳ Ｐゴシック" pitchFamily="1" charset="-128"/>
                <a:cs typeface="Arial Unicode MS" pitchFamily="34" charset="-128"/>
              </a:rPr>
              <a:t> </a:t>
            </a:r>
            <a:fld id="{0D499EC2-61D2-43B5-891A-60495D882F02}" type="slidenum">
              <a:rPr lang="en-US" sz="1000">
                <a:solidFill>
                  <a:srgbClr val="3A372F"/>
                </a:solidFill>
                <a:latin typeface="Arial" charset="0"/>
                <a:ea typeface="ＭＳ Ｐゴシック" pitchFamily="1" charset="-128"/>
                <a:cs typeface="Arial Unicode MS" pitchFamily="34" charset="-128"/>
              </a:rPr>
              <a:pPr algn="l">
                <a:lnSpc>
                  <a:spcPct val="100000"/>
                </a:lnSpc>
                <a:defRPr/>
              </a:pPr>
              <a:t>‹#›</a:t>
            </a:fld>
            <a:endParaRPr lang="en-US" sz="1000" dirty="0">
              <a:solidFill>
                <a:srgbClr val="3A372F"/>
              </a:solidFill>
              <a:latin typeface="Arial" charset="0"/>
              <a:ea typeface="ＭＳ Ｐゴシック" pitchFamily="1" charset="-128"/>
              <a:cs typeface="Arial Unicode MS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19" r:id="rId1"/>
    <p:sldLayoutId id="2147484620" r:id="rId2"/>
    <p:sldLayoutId id="2147484621" r:id="rId3"/>
    <p:sldLayoutId id="2147484622" r:id="rId4"/>
    <p:sldLayoutId id="2147484623" r:id="rId5"/>
    <p:sldLayoutId id="2147484624" r:id="rId6"/>
    <p:sldLayoutId id="2147484625" r:id="rId7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B7893"/>
          </a:solidFill>
          <a:latin typeface="Arial" charset="0"/>
          <a:ea typeface="ＭＳ Ｐゴシック" pitchFamily="1" charset="-128"/>
        </a:defRPr>
      </a:lvl9pPr>
    </p:titleStyle>
    <p:bodyStyle>
      <a:lvl1pPr marL="342900" indent="-342900" algn="l" rtl="0" fontAlgn="base">
        <a:spcBef>
          <a:spcPct val="25000"/>
        </a:spcBef>
        <a:spcAft>
          <a:spcPct val="20000"/>
        </a:spcAft>
        <a:defRPr b="1">
          <a:solidFill>
            <a:srgbClr val="333333"/>
          </a:solidFill>
          <a:latin typeface="+mn-lt"/>
          <a:ea typeface="+mn-ea"/>
          <a:cs typeface="+mn-cs"/>
        </a:defRPr>
      </a:lvl1pPr>
      <a:lvl2pPr marL="285750" indent="-171450" algn="l" rtl="0" fontAlgn="base">
        <a:spcBef>
          <a:spcPct val="25000"/>
        </a:spcBef>
        <a:spcAft>
          <a:spcPct val="20000"/>
        </a:spcAft>
        <a:buClr>
          <a:srgbClr val="5B7893"/>
        </a:buClr>
        <a:buSzPct val="80000"/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+mn-ea"/>
        </a:defRPr>
      </a:lvl2pPr>
      <a:lvl3pPr marL="574675" indent="-174625" algn="l" rtl="0" fontAlgn="base">
        <a:spcBef>
          <a:spcPct val="25000"/>
        </a:spcBef>
        <a:spcAft>
          <a:spcPct val="20000"/>
        </a:spcAft>
        <a:buClr>
          <a:schemeClr val="tx2"/>
        </a:buClr>
        <a:buFont typeface="Symbol" pitchFamily="18" charset="2"/>
        <a:buChar char=""/>
        <a:defRPr sz="1400">
          <a:solidFill>
            <a:srgbClr val="333333"/>
          </a:solidFill>
          <a:latin typeface="+mn-lt"/>
          <a:ea typeface="+mn-ea"/>
        </a:defRPr>
      </a:lvl3pPr>
      <a:lvl4pPr marL="855663" indent="-166688" algn="l" rtl="0" fontAlgn="base">
        <a:spcBef>
          <a:spcPct val="25000"/>
        </a:spcBef>
        <a:spcAft>
          <a:spcPct val="20000"/>
        </a:spcAft>
        <a:buClr>
          <a:srgbClr val="999999"/>
        </a:buClr>
        <a:buSzPct val="80000"/>
        <a:buFont typeface="Wingdings" pitchFamily="2" charset="2"/>
        <a:buChar char="§"/>
        <a:defRPr sz="1200">
          <a:solidFill>
            <a:srgbClr val="333333"/>
          </a:solidFill>
          <a:latin typeface="+mn-lt"/>
          <a:ea typeface="+mn-ea"/>
        </a:defRPr>
      </a:lvl4pPr>
      <a:lvl5pPr marL="1143000" indent="-173038" algn="l" rtl="0" fontAlgn="base">
        <a:spcBef>
          <a:spcPct val="25000"/>
        </a:spcBef>
        <a:spcAft>
          <a:spcPct val="20000"/>
        </a:spcAft>
        <a:buClr>
          <a:srgbClr val="9999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5pPr>
      <a:lvl6pPr marL="1600200" indent="-173038" algn="l" rtl="0" eaLnBrk="1" fontAlgn="base" hangingPunct="1">
        <a:spcBef>
          <a:spcPct val="25000"/>
        </a:spcBef>
        <a:spcAft>
          <a:spcPct val="20000"/>
        </a:spcAft>
        <a:buClr>
          <a:srgbClr val="9999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6pPr>
      <a:lvl7pPr marL="2057400" indent="-173038" algn="l" rtl="0" eaLnBrk="1" fontAlgn="base" hangingPunct="1">
        <a:spcBef>
          <a:spcPct val="25000"/>
        </a:spcBef>
        <a:spcAft>
          <a:spcPct val="20000"/>
        </a:spcAft>
        <a:buClr>
          <a:srgbClr val="9999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7pPr>
      <a:lvl8pPr marL="2514600" indent="-173038" algn="l" rtl="0" eaLnBrk="1" fontAlgn="base" hangingPunct="1">
        <a:spcBef>
          <a:spcPct val="25000"/>
        </a:spcBef>
        <a:spcAft>
          <a:spcPct val="20000"/>
        </a:spcAft>
        <a:buClr>
          <a:srgbClr val="9999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8pPr>
      <a:lvl9pPr marL="2971800" indent="-173038" algn="l" rtl="0" eaLnBrk="1" fontAlgn="base" hangingPunct="1">
        <a:spcBef>
          <a:spcPct val="25000"/>
        </a:spcBef>
        <a:spcAft>
          <a:spcPct val="20000"/>
        </a:spcAft>
        <a:buClr>
          <a:srgbClr val="999999"/>
        </a:buClr>
        <a:buFont typeface="Symbol" pitchFamily="18" charset="2"/>
        <a:buChar char=""/>
        <a:defRPr sz="10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70.png"/><Relationship Id="rId18" Type="http://schemas.openxmlformats.org/officeDocument/2006/relationships/image" Target="../media/image75.png"/><Relationship Id="rId26" Type="http://schemas.openxmlformats.org/officeDocument/2006/relationships/image" Target="../media/image83.png"/><Relationship Id="rId3" Type="http://schemas.openxmlformats.org/officeDocument/2006/relationships/image" Target="../media/image60.png"/><Relationship Id="rId21" Type="http://schemas.openxmlformats.org/officeDocument/2006/relationships/image" Target="../media/image78.png"/><Relationship Id="rId7" Type="http://schemas.openxmlformats.org/officeDocument/2006/relationships/image" Target="../media/image64.png"/><Relationship Id="rId12" Type="http://schemas.openxmlformats.org/officeDocument/2006/relationships/image" Target="../media/image69.png"/><Relationship Id="rId17" Type="http://schemas.openxmlformats.org/officeDocument/2006/relationships/image" Target="../media/image74.png"/><Relationship Id="rId25" Type="http://schemas.openxmlformats.org/officeDocument/2006/relationships/image" Target="../media/image82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73.png"/><Relationship Id="rId20" Type="http://schemas.openxmlformats.org/officeDocument/2006/relationships/image" Target="../media/image77.png"/><Relationship Id="rId1" Type="http://schemas.openxmlformats.org/officeDocument/2006/relationships/slideLayout" Target="../slideLayouts/slideLayout337.xml"/><Relationship Id="rId6" Type="http://schemas.openxmlformats.org/officeDocument/2006/relationships/image" Target="../media/image63.png"/><Relationship Id="rId11" Type="http://schemas.openxmlformats.org/officeDocument/2006/relationships/image" Target="../media/image68.png"/><Relationship Id="rId24" Type="http://schemas.openxmlformats.org/officeDocument/2006/relationships/image" Target="../media/image81.png"/><Relationship Id="rId5" Type="http://schemas.openxmlformats.org/officeDocument/2006/relationships/image" Target="../media/image62.png"/><Relationship Id="rId15" Type="http://schemas.openxmlformats.org/officeDocument/2006/relationships/image" Target="../media/image72.png"/><Relationship Id="rId23" Type="http://schemas.openxmlformats.org/officeDocument/2006/relationships/image" Target="../media/image80.png"/><Relationship Id="rId10" Type="http://schemas.openxmlformats.org/officeDocument/2006/relationships/image" Target="../media/image67.png"/><Relationship Id="rId19" Type="http://schemas.openxmlformats.org/officeDocument/2006/relationships/image" Target="../media/image76.png"/><Relationship Id="rId4" Type="http://schemas.openxmlformats.org/officeDocument/2006/relationships/image" Target="../media/image61.png"/><Relationship Id="rId9" Type="http://schemas.openxmlformats.org/officeDocument/2006/relationships/image" Target="../media/image66.png"/><Relationship Id="rId14" Type="http://schemas.openxmlformats.org/officeDocument/2006/relationships/image" Target="../media/image71.png"/><Relationship Id="rId22" Type="http://schemas.openxmlformats.org/officeDocument/2006/relationships/image" Target="../media/image7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hyperlink" Target="https://www.dau.mil/acquipedia/Pages/ArticleDetails.aspx?aid=e66a7450-cd0d-48e6-b662-318df2978b35" TargetMode="External"/><Relationship Id="rId1" Type="http://schemas.openxmlformats.org/officeDocument/2006/relationships/slideLayout" Target="../slideLayouts/slideLayout33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hyperlink" Target="https://www.dau.mil/cop/am" TargetMode="External"/><Relationship Id="rId7" Type="http://schemas.openxmlformats.org/officeDocument/2006/relationships/hyperlink" Target="https://www.dau.mil/events/Lunch-and-Learn---Additive-Manufacturing-using-3-D-Printing-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37.xml"/><Relationship Id="rId6" Type="http://schemas.openxmlformats.org/officeDocument/2006/relationships/hyperlink" Target="https://www.dau.mil/library/defense-atl/p/Previous-Issues" TargetMode="External"/><Relationship Id="rId5" Type="http://schemas.openxmlformats.org/officeDocument/2006/relationships/hyperlink" Target="https://shortcut.dau.mil/acq/am" TargetMode="External"/><Relationship Id="rId10" Type="http://schemas.openxmlformats.org/officeDocument/2006/relationships/image" Target="../media/image87.png"/><Relationship Id="rId4" Type="http://schemas.openxmlformats.org/officeDocument/2006/relationships/hyperlink" Target="https://media.dau.mil/channel/Life+Cycle+Logistics/62958791" TargetMode="External"/><Relationship Id="rId9" Type="http://schemas.openxmlformats.org/officeDocument/2006/relationships/image" Target="../media/image8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68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6.png"/><Relationship Id="rId18" Type="http://schemas.openxmlformats.org/officeDocument/2006/relationships/hyperlink" Target="https://www.dau.mil/tools/p/integrated-Product-Support-Guidebook-Suite" TargetMode="External"/><Relationship Id="rId26" Type="http://schemas.openxmlformats.org/officeDocument/2006/relationships/image" Target="../media/image36.png"/><Relationship Id="rId3" Type="http://schemas.openxmlformats.org/officeDocument/2006/relationships/hyperlink" Target="http://www.dau.mil/consulting-services" TargetMode="External"/><Relationship Id="rId21" Type="http://schemas.openxmlformats.org/officeDocument/2006/relationships/image" Target="../media/image32.png"/><Relationship Id="rId7" Type="http://schemas.openxmlformats.org/officeDocument/2006/relationships/image" Target="../media/image22.png"/><Relationship Id="rId12" Type="http://schemas.openxmlformats.org/officeDocument/2006/relationships/hyperlink" Target="http://icatalog.dau.mil/onlinecatalog/tabnav.aspx?tab=LOG" TargetMode="External"/><Relationship Id="rId17" Type="http://schemas.openxmlformats.org/officeDocument/2006/relationships/image" Target="../media/image29.png"/><Relationship Id="rId25" Type="http://schemas.openxmlformats.org/officeDocument/2006/relationships/image" Target="../media/image35.png"/><Relationship Id="rId2" Type="http://schemas.openxmlformats.org/officeDocument/2006/relationships/image" Target="../media/image19.png"/><Relationship Id="rId16" Type="http://schemas.openxmlformats.org/officeDocument/2006/relationships/image" Target="../media/image28.jpeg"/><Relationship Id="rId20" Type="http://schemas.openxmlformats.org/officeDocument/2006/relationships/image" Target="../media/image31.png"/><Relationship Id="rId29" Type="http://schemas.openxmlformats.org/officeDocument/2006/relationships/image" Target="../media/image38.jpeg"/><Relationship Id="rId1" Type="http://schemas.openxmlformats.org/officeDocument/2006/relationships/slideLayout" Target="../slideLayouts/slideLayout333.xml"/><Relationship Id="rId6" Type="http://schemas.openxmlformats.org/officeDocument/2006/relationships/hyperlink" Target="https://shortcut.dau.mil/acq/acquipedia" TargetMode="External"/><Relationship Id="rId11" Type="http://schemas.openxmlformats.org/officeDocument/2006/relationships/image" Target="../media/image25.png"/><Relationship Id="rId24" Type="http://schemas.openxmlformats.org/officeDocument/2006/relationships/image" Target="../media/image34.png"/><Relationship Id="rId5" Type="http://schemas.openxmlformats.org/officeDocument/2006/relationships/image" Target="../media/image21.png"/><Relationship Id="rId15" Type="http://schemas.openxmlformats.org/officeDocument/2006/relationships/hyperlink" Target="http://icatalog.dau.mil/onlinecatalog/tabnavcl.aspx?tab=CLL" TargetMode="External"/><Relationship Id="rId23" Type="http://schemas.openxmlformats.org/officeDocument/2006/relationships/hyperlink" Target="https://www.dau.mil/training/career-development/logistics/p/Communities-of-Practice" TargetMode="External"/><Relationship Id="rId28" Type="http://schemas.openxmlformats.org/officeDocument/2006/relationships/image" Target="../media/image37.png"/><Relationship Id="rId10" Type="http://schemas.openxmlformats.org/officeDocument/2006/relationships/image" Target="../media/image24.png"/><Relationship Id="rId19" Type="http://schemas.openxmlformats.org/officeDocument/2006/relationships/image" Target="../media/image30.png"/><Relationship Id="rId4" Type="http://schemas.openxmlformats.org/officeDocument/2006/relationships/image" Target="../media/image20.png"/><Relationship Id="rId9" Type="http://schemas.openxmlformats.org/officeDocument/2006/relationships/hyperlink" Target="https://www.dau.mil/tools/p/Integrated-Product-Support-Tools-and-Resources" TargetMode="External"/><Relationship Id="rId14" Type="http://schemas.openxmlformats.org/officeDocument/2006/relationships/image" Target="../media/image27.png"/><Relationship Id="rId22" Type="http://schemas.openxmlformats.org/officeDocument/2006/relationships/image" Target="../media/image33.png"/><Relationship Id="rId27" Type="http://schemas.openxmlformats.org/officeDocument/2006/relationships/hyperlink" Target="https://go.usa.gov/xXaF4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acc.dau.mil/bca-guidebook" TargetMode="External"/><Relationship Id="rId13" Type="http://schemas.openxmlformats.org/officeDocument/2006/relationships/hyperlink" Target="https://acc.dau.mil/la-guidebook" TargetMode="External"/><Relationship Id="rId18" Type="http://schemas.openxmlformats.org/officeDocument/2006/relationships/image" Target="../media/image45.png"/><Relationship Id="rId26" Type="http://schemas.openxmlformats.org/officeDocument/2006/relationships/image" Target="../media/image50.png"/><Relationship Id="rId3" Type="http://schemas.openxmlformats.org/officeDocument/2006/relationships/notesSlide" Target="../notesSlides/notesSlide3.xml"/><Relationship Id="rId21" Type="http://schemas.openxmlformats.org/officeDocument/2006/relationships/hyperlink" Target="https://dap.dau.mil/dodpsroadmap/Pages/Default.aspx" TargetMode="External"/><Relationship Id="rId34" Type="http://schemas.openxmlformats.org/officeDocument/2006/relationships/image" Target="../media/image57.png"/><Relationship Id="rId7" Type="http://schemas.openxmlformats.org/officeDocument/2006/relationships/image" Target="../media/image40.png"/><Relationship Id="rId12" Type="http://schemas.openxmlformats.org/officeDocument/2006/relationships/hyperlink" Target="https://acc.dau.mil/cost-guidebook" TargetMode="External"/><Relationship Id="rId17" Type="http://schemas.openxmlformats.org/officeDocument/2006/relationships/hyperlink" Target="https://acc.dau.mil/CommunityBrowser.aspx?id=32543" TargetMode="External"/><Relationship Id="rId25" Type="http://schemas.openxmlformats.org/officeDocument/2006/relationships/image" Target="../media/image49.png"/><Relationship Id="rId33" Type="http://schemas.openxmlformats.org/officeDocument/2006/relationships/image" Target="../media/image56.png"/><Relationship Id="rId2" Type="http://schemas.openxmlformats.org/officeDocument/2006/relationships/slideLayout" Target="../slideLayouts/slideLayout346.xml"/><Relationship Id="rId16" Type="http://schemas.openxmlformats.org/officeDocument/2006/relationships/image" Target="../media/image44.jpeg"/><Relationship Id="rId20" Type="http://schemas.openxmlformats.org/officeDocument/2006/relationships/image" Target="../media/image46.png"/><Relationship Id="rId29" Type="http://schemas.openxmlformats.org/officeDocument/2006/relationships/image" Target="../media/image53.png"/><Relationship Id="rId1" Type="http://schemas.openxmlformats.org/officeDocument/2006/relationships/tags" Target="../tags/tag1.xml"/><Relationship Id="rId6" Type="http://schemas.openxmlformats.org/officeDocument/2006/relationships/hyperlink" Target="https://acc.dau.mil/pbl-guidebook" TargetMode="External"/><Relationship Id="rId11" Type="http://schemas.openxmlformats.org/officeDocument/2006/relationships/image" Target="../media/image42.png"/><Relationship Id="rId24" Type="http://schemas.openxmlformats.org/officeDocument/2006/relationships/image" Target="../media/image48.png"/><Relationship Id="rId32" Type="http://schemas.openxmlformats.org/officeDocument/2006/relationships/image" Target="../media/image55.png"/><Relationship Id="rId5" Type="http://schemas.openxmlformats.org/officeDocument/2006/relationships/image" Target="../media/image39.png"/><Relationship Id="rId15" Type="http://schemas.openxmlformats.org/officeDocument/2006/relationships/hyperlink" Target="http://www.acq.osd.mil/se/docs/DoD-RAM-C-Manual.pdf" TargetMode="External"/><Relationship Id="rId23" Type="http://schemas.openxmlformats.org/officeDocument/2006/relationships/hyperlink" Target="https://dag.dau.mil/Pages/Default.aspx" TargetMode="External"/><Relationship Id="rId28" Type="http://schemas.openxmlformats.org/officeDocument/2006/relationships/image" Target="../media/image52.png"/><Relationship Id="rId10" Type="http://schemas.openxmlformats.org/officeDocument/2006/relationships/hyperlink" Target="https://acc.dau.mil/ppp-guidebook" TargetMode="External"/><Relationship Id="rId19" Type="http://schemas.openxmlformats.org/officeDocument/2006/relationships/hyperlink" Target="https://dap.dau.mil/acquipedia/Pages/Default.aspx" TargetMode="External"/><Relationship Id="rId31" Type="http://schemas.openxmlformats.org/officeDocument/2006/relationships/image" Target="../media/image54.png"/><Relationship Id="rId4" Type="http://schemas.openxmlformats.org/officeDocument/2006/relationships/hyperlink" Target="https://acc.dau.mil/psm-guidebook" TargetMode="External"/><Relationship Id="rId9" Type="http://schemas.openxmlformats.org/officeDocument/2006/relationships/image" Target="../media/image41.png"/><Relationship Id="rId14" Type="http://schemas.openxmlformats.org/officeDocument/2006/relationships/image" Target="../media/image43.png"/><Relationship Id="rId22" Type="http://schemas.openxmlformats.org/officeDocument/2006/relationships/image" Target="../media/image47.png"/><Relationship Id="rId27" Type="http://schemas.openxmlformats.org/officeDocument/2006/relationships/image" Target="../media/image51.png"/><Relationship Id="rId30" Type="http://schemas.openxmlformats.org/officeDocument/2006/relationships/hyperlink" Target="https://www.dau.mil/tools/p/integrated-Product-Support-Guidebook-Suite" TargetMode="External"/><Relationship Id="rId35" Type="http://schemas.openxmlformats.org/officeDocument/2006/relationships/image" Target="../media/image5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1"/>
          <p:cNvSpPr>
            <a:spLocks noGrp="1"/>
          </p:cNvSpPr>
          <p:nvPr>
            <p:ph type="subTitle" idx="1"/>
          </p:nvPr>
        </p:nvSpPr>
        <p:spPr>
          <a:xfrm>
            <a:off x="914399" y="4558145"/>
            <a:ext cx="4270443" cy="103909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600" b="1" dirty="0" smtClean="0"/>
              <a:t>Bill Kobren</a:t>
            </a:r>
          </a:p>
          <a:p>
            <a:pPr>
              <a:lnSpc>
                <a:spcPct val="100000"/>
              </a:lnSpc>
            </a:pPr>
            <a:r>
              <a:rPr lang="en-US" sz="1600" b="1" dirty="0" smtClean="0"/>
              <a:t>Director, Logistics &amp; Sustainment Center</a:t>
            </a:r>
          </a:p>
          <a:p>
            <a:pPr>
              <a:lnSpc>
                <a:spcPct val="100000"/>
              </a:lnSpc>
            </a:pPr>
            <a:r>
              <a:rPr lang="en-US" sz="1600" b="1" dirty="0" smtClean="0"/>
              <a:t>Defense Acquisition University</a:t>
            </a:r>
          </a:p>
          <a:p>
            <a:pPr>
              <a:lnSpc>
                <a:spcPct val="100000"/>
              </a:lnSpc>
            </a:pPr>
            <a:r>
              <a:rPr lang="en-US" sz="1600" b="1" dirty="0" smtClean="0"/>
              <a:t>E-mail: bill.kobren@dau.mil</a:t>
            </a:r>
            <a:endParaRPr lang="en-US" sz="1600" b="1" dirty="0"/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1433945" y="6247502"/>
            <a:ext cx="7710055" cy="384586"/>
          </a:xfrm>
        </p:spPr>
        <p:txBody>
          <a:bodyPr/>
          <a:lstStyle/>
          <a:p>
            <a:r>
              <a:rPr lang="en-US" sz="1600" dirty="0" smtClean="0"/>
              <a:t>Joint Technology Exchange Group (JTEG) Forum:</a:t>
            </a:r>
            <a:br>
              <a:rPr lang="en-US" sz="1600" dirty="0" smtClean="0"/>
            </a:br>
            <a:r>
              <a:rPr lang="en-US" sz="1600" dirty="0" smtClean="0"/>
              <a:t>How </a:t>
            </a:r>
            <a:r>
              <a:rPr lang="en-US" sz="1600" dirty="0"/>
              <a:t>the Acquisition Workforce is Being Trained on Supporting Sustainment 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947646" y="5970494"/>
            <a:ext cx="2510118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smtClean="0">
                <a:solidFill>
                  <a:schemeClr val="bg1">
                    <a:lumMod val="50000"/>
                  </a:schemeClr>
                </a:solidFill>
              </a:rPr>
              <a:t>Cleared for Public Release</a:t>
            </a:r>
            <a:endParaRPr lang="en-US" sz="1200" i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939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6330" y="2787162"/>
            <a:ext cx="8229600" cy="931985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en-US" sz="6000" b="1" i="1" dirty="0" smtClean="0">
                <a:solidFill>
                  <a:srgbClr val="C00000"/>
                </a:solidFill>
              </a:rPr>
              <a:t>BACK-UPS</a:t>
            </a:r>
            <a:endParaRPr lang="en-US" sz="6000" b="1" i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433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 txBox="1">
            <a:spLocks/>
          </p:cNvSpPr>
          <p:nvPr/>
        </p:nvSpPr>
        <p:spPr bwMode="auto">
          <a:xfrm>
            <a:off x="7073900" y="6632575"/>
            <a:ext cx="2133600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9pPr>
          </a:lstStyle>
          <a:p>
            <a:fld id="{EE8DC7CD-366B-4555-B3D4-2986ED50B19A}" type="slidenum">
              <a:rPr lang="en-US" smtClean="0">
                <a:solidFill>
                  <a:srgbClr val="000000"/>
                </a:solidFill>
              </a:rPr>
              <a:pPr/>
              <a:t>11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3" name="Group 84"/>
          <p:cNvGrpSpPr>
            <a:grpSpLocks/>
          </p:cNvGrpSpPr>
          <p:nvPr/>
        </p:nvGrpSpPr>
        <p:grpSpPr bwMode="auto">
          <a:xfrm>
            <a:off x="133350" y="1358900"/>
            <a:ext cx="8880475" cy="4514850"/>
            <a:chOff x="133657" y="1718133"/>
            <a:chExt cx="8880117" cy="4513944"/>
          </a:xfrm>
        </p:grpSpPr>
        <p:grpSp>
          <p:nvGrpSpPr>
            <p:cNvPr id="4" name="Rounded Rectangle 27"/>
            <p:cNvGrpSpPr>
              <a:grpSpLocks/>
            </p:cNvGrpSpPr>
            <p:nvPr/>
          </p:nvGrpSpPr>
          <p:grpSpPr bwMode="auto">
            <a:xfrm>
              <a:off x="133657" y="1725744"/>
              <a:ext cx="2255514" cy="4500885"/>
              <a:chOff x="134112" y="1316736"/>
              <a:chExt cx="2255520" cy="5419344"/>
            </a:xfrm>
          </p:grpSpPr>
          <p:pic>
            <p:nvPicPr>
              <p:cNvPr id="78" name="Rounded Rectangle 27"/>
              <p:cNvPicPr>
                <a:picLocks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34112" y="1316736"/>
                <a:ext cx="2255520" cy="54193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79" name="Text Box 5"/>
              <p:cNvSpPr txBox="1">
                <a:spLocks noChangeArrowheads="1"/>
              </p:cNvSpPr>
              <p:nvPr/>
            </p:nvSpPr>
            <p:spPr bwMode="auto">
              <a:xfrm>
                <a:off x="255267" y="1415373"/>
                <a:ext cx="2016095" cy="51831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  <a:latin typeface="Arial" charset="0"/>
                </a:endParaRPr>
              </a:p>
            </p:txBody>
          </p:sp>
        </p:grpSp>
        <p:sp>
          <p:nvSpPr>
            <p:cNvPr id="6" name="Rounded Rectangle 4"/>
            <p:cNvSpPr/>
            <p:nvPr/>
          </p:nvSpPr>
          <p:spPr bwMode="auto">
            <a:xfrm>
              <a:off x="176518" y="3800515"/>
              <a:ext cx="2141451" cy="185382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tIns="99568" rIns="45720" bIns="0" spcCol="1270"/>
            <a:lstStyle/>
            <a:p>
              <a:pPr defTabSz="6223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sz="1100" dirty="0">
                  <a:solidFill>
                    <a:srgbClr val="000000"/>
                  </a:solidFill>
                </a:rPr>
                <a:t>Includes procurement to disposal of defense system material, and integration of multiple material sources and processes to meet war fighter requirements. </a:t>
              </a:r>
            </a:p>
          </p:txBody>
        </p:sp>
        <p:grpSp>
          <p:nvGrpSpPr>
            <p:cNvPr id="7" name="Oval 13"/>
            <p:cNvGrpSpPr>
              <a:grpSpLocks/>
            </p:cNvGrpSpPr>
            <p:nvPr/>
          </p:nvGrpSpPr>
          <p:grpSpPr bwMode="auto">
            <a:xfrm>
              <a:off x="482728" y="2550907"/>
              <a:ext cx="1360585" cy="1208291"/>
              <a:chOff x="200" y="1283"/>
              <a:chExt cx="1186" cy="1182"/>
            </a:xfrm>
          </p:grpSpPr>
          <p:pic>
            <p:nvPicPr>
              <p:cNvPr id="76" name="Oval 13"/>
              <p:cNvPicPr preferRelativeResize="0">
                <a:picLocks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00" y="1283"/>
                <a:ext cx="1186" cy="11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77" name="Text Box 9"/>
              <p:cNvSpPr txBox="1">
                <a:spLocks noChangeArrowheads="1"/>
              </p:cNvSpPr>
              <p:nvPr/>
            </p:nvSpPr>
            <p:spPr bwMode="auto">
              <a:xfrm>
                <a:off x="401" y="1470"/>
                <a:ext cx="787" cy="7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  <a:latin typeface="Arial" charset="0"/>
                </a:endParaRPr>
              </a:p>
            </p:txBody>
          </p:sp>
        </p:grpSp>
        <p:grpSp>
          <p:nvGrpSpPr>
            <p:cNvPr id="8" name="Rounded Rectangle 25"/>
            <p:cNvGrpSpPr>
              <a:grpSpLocks/>
            </p:cNvGrpSpPr>
            <p:nvPr/>
          </p:nvGrpSpPr>
          <p:grpSpPr bwMode="auto">
            <a:xfrm>
              <a:off x="2335148" y="1756228"/>
              <a:ext cx="2261610" cy="4441371"/>
              <a:chOff x="2334768" y="1335050"/>
              <a:chExt cx="2261616" cy="5527471"/>
            </a:xfrm>
          </p:grpSpPr>
          <p:pic>
            <p:nvPicPr>
              <p:cNvPr id="74" name="Rounded Rectangle 25"/>
              <p:cNvPicPr>
                <a:picLocks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334768" y="1335050"/>
                <a:ext cx="2261616" cy="552747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75" name="Text Box 13"/>
              <p:cNvSpPr txBox="1">
                <a:spLocks noChangeArrowheads="1"/>
              </p:cNvSpPr>
              <p:nvPr/>
            </p:nvSpPr>
            <p:spPr bwMode="auto">
              <a:xfrm>
                <a:off x="2461057" y="1415373"/>
                <a:ext cx="2016095" cy="51831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  <a:latin typeface="Arial" charset="0"/>
                </a:endParaRPr>
              </a:p>
            </p:txBody>
          </p:sp>
        </p:grpSp>
        <p:sp>
          <p:nvSpPr>
            <p:cNvPr id="9" name="Rounded Rectangle 7"/>
            <p:cNvSpPr/>
            <p:nvPr/>
          </p:nvSpPr>
          <p:spPr bwMode="auto">
            <a:xfrm>
              <a:off x="2398929" y="3784643"/>
              <a:ext cx="2141451" cy="185382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tIns="99568" rIns="45720" bIns="0" spcCol="1270"/>
            <a:lstStyle/>
            <a:p>
              <a:pPr defTabSz="6223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sz="1100" dirty="0">
                  <a:solidFill>
                    <a:srgbClr val="000000"/>
                  </a:solidFill>
                </a:rPr>
                <a:t>Includes planning and executing maintenance, both scheduled and unscheduled, to defense system equipment. </a:t>
              </a:r>
            </a:p>
          </p:txBody>
        </p:sp>
        <p:grpSp>
          <p:nvGrpSpPr>
            <p:cNvPr id="10" name="Oval 15"/>
            <p:cNvGrpSpPr>
              <a:grpSpLocks/>
            </p:cNvGrpSpPr>
            <p:nvPr/>
          </p:nvGrpSpPr>
          <p:grpSpPr bwMode="auto">
            <a:xfrm>
              <a:off x="2718380" y="2608003"/>
              <a:ext cx="1273048" cy="1136682"/>
              <a:chOff x="1590" y="1283"/>
              <a:chExt cx="1186" cy="1182"/>
            </a:xfrm>
          </p:grpSpPr>
          <p:pic>
            <p:nvPicPr>
              <p:cNvPr id="72" name="Oval 15"/>
              <p:cNvPicPr preferRelativeResize="0">
                <a:picLocks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1590" y="1283"/>
                <a:ext cx="1186" cy="11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73" name="Text Box 17"/>
              <p:cNvSpPr txBox="1">
                <a:spLocks noChangeArrowheads="1"/>
              </p:cNvSpPr>
              <p:nvPr/>
            </p:nvSpPr>
            <p:spPr bwMode="auto">
              <a:xfrm>
                <a:off x="1790" y="1468"/>
                <a:ext cx="788" cy="7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  <a:latin typeface="Arial" charset="0"/>
                </a:endParaRPr>
              </a:p>
            </p:txBody>
          </p:sp>
        </p:grpSp>
        <p:grpSp>
          <p:nvGrpSpPr>
            <p:cNvPr id="11" name="Rounded Rectangle 23"/>
            <p:cNvGrpSpPr>
              <a:grpSpLocks/>
            </p:cNvGrpSpPr>
            <p:nvPr/>
          </p:nvGrpSpPr>
          <p:grpSpPr bwMode="auto">
            <a:xfrm>
              <a:off x="4541147" y="1741511"/>
              <a:ext cx="2261611" cy="4398032"/>
              <a:chOff x="4541520" y="1316736"/>
              <a:chExt cx="2261616" cy="5419344"/>
            </a:xfrm>
          </p:grpSpPr>
          <p:pic>
            <p:nvPicPr>
              <p:cNvPr id="70" name="Rounded Rectangle 23"/>
              <p:cNvPicPr>
                <a:picLocks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4541520" y="1316736"/>
                <a:ext cx="2261616" cy="54193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71" name="Text Box 21"/>
              <p:cNvSpPr txBox="1">
                <a:spLocks noChangeArrowheads="1"/>
              </p:cNvSpPr>
              <p:nvPr/>
            </p:nvSpPr>
            <p:spPr bwMode="auto">
              <a:xfrm>
                <a:off x="4666847" y="1415373"/>
                <a:ext cx="2016095" cy="51831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  <a:latin typeface="Arial" charset="0"/>
                </a:endParaRPr>
              </a:p>
            </p:txBody>
          </p:sp>
        </p:grpSp>
        <p:sp>
          <p:nvSpPr>
            <p:cNvPr id="12" name="Rounded Rectangle 10"/>
            <p:cNvSpPr/>
            <p:nvPr/>
          </p:nvSpPr>
          <p:spPr bwMode="auto">
            <a:xfrm>
              <a:off x="4603877" y="3719569"/>
              <a:ext cx="2141452" cy="185382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tIns="99568" rIns="45720" bIns="0"/>
            <a:lstStyle/>
            <a:p>
              <a:pPr defTabSz="6223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sz="1100" dirty="0">
                  <a:solidFill>
                    <a:srgbClr val="000000"/>
                  </a:solidFill>
                  <a:cs typeface="Arial" charset="0"/>
                </a:rPr>
                <a:t>Includes transportation, packaging, cargo scheduling, and dispatching of materials, support services, and personnel in response to customer requirements  to move and sustain the force.</a:t>
              </a:r>
            </a:p>
          </p:txBody>
        </p:sp>
        <p:grpSp>
          <p:nvGrpSpPr>
            <p:cNvPr id="13" name="Oval 17"/>
            <p:cNvGrpSpPr>
              <a:grpSpLocks/>
            </p:cNvGrpSpPr>
            <p:nvPr/>
          </p:nvGrpSpPr>
          <p:grpSpPr bwMode="auto">
            <a:xfrm>
              <a:off x="4978400" y="2691623"/>
              <a:ext cx="1291772" cy="1038546"/>
              <a:chOff x="2980" y="1283"/>
              <a:chExt cx="1005" cy="1149"/>
            </a:xfrm>
          </p:grpSpPr>
          <p:pic>
            <p:nvPicPr>
              <p:cNvPr id="68" name="Oval 17"/>
              <p:cNvPicPr preferRelativeResize="0">
                <a:picLocks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2980" y="1283"/>
                <a:ext cx="1005" cy="11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9" name="Text Box 25"/>
              <p:cNvSpPr txBox="1">
                <a:spLocks noChangeArrowheads="1"/>
              </p:cNvSpPr>
              <p:nvPr/>
            </p:nvSpPr>
            <p:spPr bwMode="auto">
              <a:xfrm>
                <a:off x="3180" y="1470"/>
                <a:ext cx="787" cy="7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  <a:latin typeface="Arial" charset="0"/>
                </a:endParaRPr>
              </a:p>
            </p:txBody>
          </p:sp>
        </p:grpSp>
        <p:grpSp>
          <p:nvGrpSpPr>
            <p:cNvPr id="14" name="Rounded Rectangle 21"/>
            <p:cNvGrpSpPr>
              <a:grpSpLocks/>
            </p:cNvGrpSpPr>
            <p:nvPr/>
          </p:nvGrpSpPr>
          <p:grpSpPr bwMode="auto">
            <a:xfrm>
              <a:off x="6758259" y="1718133"/>
              <a:ext cx="2255515" cy="4513944"/>
              <a:chOff x="6748272" y="1281886"/>
              <a:chExt cx="2255520" cy="5419344"/>
            </a:xfrm>
          </p:grpSpPr>
          <p:pic>
            <p:nvPicPr>
              <p:cNvPr id="66" name="Rounded Rectangle 21"/>
              <p:cNvPicPr>
                <a:picLocks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6748272" y="1281886"/>
                <a:ext cx="2255520" cy="54193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7" name="Text Box 29"/>
              <p:cNvSpPr txBox="1">
                <a:spLocks noChangeArrowheads="1"/>
              </p:cNvSpPr>
              <p:nvPr/>
            </p:nvSpPr>
            <p:spPr bwMode="auto">
              <a:xfrm>
                <a:off x="6872637" y="1415373"/>
                <a:ext cx="2016095" cy="51831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  <a:latin typeface="Arial" charset="0"/>
                </a:endParaRPr>
              </a:p>
            </p:txBody>
          </p:sp>
        </p:grpSp>
        <p:sp>
          <p:nvSpPr>
            <p:cNvPr id="15" name="Rounded Rectangle 13"/>
            <p:cNvSpPr/>
            <p:nvPr/>
          </p:nvSpPr>
          <p:spPr bwMode="auto">
            <a:xfrm>
              <a:off x="6810413" y="3533869"/>
              <a:ext cx="2141452" cy="104119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5720" tIns="99568" rIns="45720" bIns="0"/>
            <a:lstStyle/>
            <a:p>
              <a:pPr defTabSz="6223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sz="1100" dirty="0">
                  <a:solidFill>
                    <a:srgbClr val="000000"/>
                  </a:solidFill>
                  <a:cs typeface="Arial" charset="0"/>
                </a:rPr>
                <a:t>Includes planning, development, implementation, and management of a comprehensive, affordable, and effective systems support strategy.</a:t>
              </a:r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428734" y="1999020"/>
              <a:ext cx="1727200" cy="517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14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SUPPLY MANAGEMENT</a:t>
              </a:r>
            </a:p>
          </p:txBody>
        </p:sp>
        <p:sp>
          <p:nvSpPr>
            <p:cNvPr id="17" name="Rectangle 18"/>
            <p:cNvSpPr>
              <a:spLocks noChangeArrowheads="1"/>
            </p:cNvSpPr>
            <p:nvPr/>
          </p:nvSpPr>
          <p:spPr bwMode="auto">
            <a:xfrm>
              <a:off x="2540000" y="1976900"/>
              <a:ext cx="1860550" cy="517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14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MAINTENANCE SUPPORT</a:t>
              </a:r>
            </a:p>
          </p:txBody>
        </p:sp>
        <p:sp>
          <p:nvSpPr>
            <p:cNvPr id="18" name="Rectangle 19"/>
            <p:cNvSpPr>
              <a:spLocks noChangeArrowheads="1"/>
            </p:cNvSpPr>
            <p:nvPr/>
          </p:nvSpPr>
          <p:spPr bwMode="auto">
            <a:xfrm>
              <a:off x="4667250" y="1893760"/>
              <a:ext cx="1895475" cy="7302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14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DEPLOYMENT/ DISTRIBUTION/ TRANSPORTATION</a:t>
              </a:r>
            </a:p>
          </p:txBody>
        </p:sp>
        <p:sp>
          <p:nvSpPr>
            <p:cNvPr id="19" name="Rectangle 10"/>
            <p:cNvSpPr>
              <a:spLocks noChangeArrowheads="1"/>
            </p:cNvSpPr>
            <p:nvPr/>
          </p:nvSpPr>
          <p:spPr bwMode="auto">
            <a:xfrm>
              <a:off x="6997591" y="1815678"/>
              <a:ext cx="1717675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14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LIFE CYCLE LOGISTICS</a:t>
              </a:r>
            </a:p>
            <a:p>
              <a:endParaRPr lang="en-US" sz="1400" dirty="0">
                <a:solidFill>
                  <a:srgbClr val="FFFFFF"/>
                </a:solidFill>
                <a:latin typeface="Arial" charset="0"/>
                <a:cs typeface="Arial" charset="0"/>
              </a:endParaRPr>
            </a:p>
          </p:txBody>
        </p:sp>
        <p:pic>
          <p:nvPicPr>
            <p:cNvPr id="20" name="Picture 21" descr="DF-SD-03-00883.jpg"/>
            <p:cNvPicPr preferRelativeResize="0"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7338339" y="2537515"/>
              <a:ext cx="1050915" cy="10518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21" name="Group 42"/>
            <p:cNvGrpSpPr>
              <a:grpSpLocks/>
            </p:cNvGrpSpPr>
            <p:nvPr/>
          </p:nvGrpSpPr>
          <p:grpSpPr bwMode="auto">
            <a:xfrm>
              <a:off x="4559481" y="5455984"/>
              <a:ext cx="2188946" cy="336632"/>
              <a:chOff x="2888" y="2838"/>
              <a:chExt cx="1394" cy="330"/>
            </a:xfrm>
          </p:grpSpPr>
          <p:pic>
            <p:nvPicPr>
              <p:cNvPr id="64" name="AutoShape 6"/>
              <p:cNvPicPr>
                <a:picLocks noChangeArrowheads="1"/>
              </p:cNvPicPr>
              <p:nvPr/>
            </p:nvPicPr>
            <p:blipFill>
              <a:blip r:embed="rId11" cstate="print">
                <a:lum bright="20000"/>
              </a:blip>
              <a:srcRect/>
              <a:stretch>
                <a:fillRect/>
              </a:stretch>
            </p:blipFill>
            <p:spPr bwMode="auto">
              <a:xfrm>
                <a:off x="2888" y="2838"/>
                <a:ext cx="1394" cy="33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" name="Text Box 44"/>
              <p:cNvSpPr txBox="1">
                <a:spLocks noChangeArrowheads="1"/>
              </p:cNvSpPr>
              <p:nvPr/>
            </p:nvSpPr>
            <p:spPr bwMode="auto">
              <a:xfrm>
                <a:off x="2938" y="2866"/>
                <a:ext cx="1299" cy="23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576" tIns="0" rIns="36576" bIns="0" anchor="ctr" anchorCtr="1"/>
              <a:lstStyle/>
              <a:p>
                <a:r>
                  <a:rPr lang="en-US" sz="1000" dirty="0">
                    <a:solidFill>
                      <a:srgbClr val="000000"/>
                    </a:solidFill>
                    <a:latin typeface="Arial" charset="0"/>
                  </a:rPr>
                  <a:t>Deployment Planning</a:t>
                </a:r>
                <a:endParaRPr lang="en-US" sz="1800" dirty="0">
                  <a:solidFill>
                    <a:srgbClr val="FFFFFF"/>
                  </a:solidFill>
                  <a:latin typeface="Arial" charset="0"/>
                </a:endParaRPr>
              </a:p>
            </p:txBody>
          </p:sp>
        </p:grpSp>
        <p:grpSp>
          <p:nvGrpSpPr>
            <p:cNvPr id="22" name="Group 45"/>
            <p:cNvGrpSpPr>
              <a:grpSpLocks/>
            </p:cNvGrpSpPr>
            <p:nvPr/>
          </p:nvGrpSpPr>
          <p:grpSpPr bwMode="auto">
            <a:xfrm>
              <a:off x="4559481" y="5032644"/>
              <a:ext cx="2188946" cy="513564"/>
              <a:chOff x="2888" y="2423"/>
              <a:chExt cx="1394" cy="484"/>
            </a:xfrm>
          </p:grpSpPr>
          <p:pic>
            <p:nvPicPr>
              <p:cNvPr id="62" name="AutoShape 7"/>
              <p:cNvPicPr>
                <a:picLocks noChangeArrowheads="1"/>
              </p:cNvPicPr>
              <p:nvPr/>
            </p:nvPicPr>
            <p:blipFill>
              <a:blip r:embed="rId12" cstate="print">
                <a:lum bright="20000"/>
              </a:blip>
              <a:srcRect/>
              <a:stretch>
                <a:fillRect/>
              </a:stretch>
            </p:blipFill>
            <p:spPr bwMode="auto">
              <a:xfrm>
                <a:off x="2888" y="2423"/>
                <a:ext cx="1394" cy="4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3" name="Text Box 47"/>
              <p:cNvSpPr txBox="1">
                <a:spLocks noChangeArrowheads="1"/>
              </p:cNvSpPr>
              <p:nvPr/>
            </p:nvSpPr>
            <p:spPr bwMode="auto">
              <a:xfrm>
                <a:off x="2942" y="2453"/>
                <a:ext cx="1291" cy="3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576" tIns="0" rIns="36576" bIns="0" anchor="ctr" anchorCtr="1"/>
              <a:lstStyle/>
              <a:p>
                <a:r>
                  <a:rPr lang="en-US" sz="1000" dirty="0">
                    <a:solidFill>
                      <a:srgbClr val="000000"/>
                    </a:solidFill>
                    <a:latin typeface="Arial" charset="0"/>
                  </a:rPr>
                  <a:t>Physical Distribution/</a:t>
                </a:r>
              </a:p>
              <a:p>
                <a:r>
                  <a:rPr lang="en-US" sz="1000" dirty="0">
                    <a:solidFill>
                      <a:srgbClr val="000000"/>
                    </a:solidFill>
                    <a:latin typeface="Arial" charset="0"/>
                  </a:rPr>
                  <a:t>Transportation Operations</a:t>
                </a:r>
                <a:endParaRPr lang="en-US" sz="1800" dirty="0">
                  <a:solidFill>
                    <a:srgbClr val="000000"/>
                  </a:solidFill>
                  <a:latin typeface="Arial" charset="0"/>
                </a:endParaRPr>
              </a:p>
            </p:txBody>
          </p:sp>
        </p:grpSp>
        <p:grpSp>
          <p:nvGrpSpPr>
            <p:cNvPr id="23" name="AutoShape 11"/>
            <p:cNvGrpSpPr>
              <a:grpSpLocks/>
            </p:cNvGrpSpPr>
            <p:nvPr/>
          </p:nvGrpSpPr>
          <p:grpSpPr bwMode="auto">
            <a:xfrm>
              <a:off x="2370535" y="4816465"/>
              <a:ext cx="2188946" cy="496787"/>
              <a:chOff x="1494" y="2412"/>
              <a:chExt cx="1394" cy="487"/>
            </a:xfrm>
          </p:grpSpPr>
          <p:pic>
            <p:nvPicPr>
              <p:cNvPr id="60" name="AutoShape 11"/>
              <p:cNvPicPr>
                <a:picLocks noChangeArrowheads="1"/>
              </p:cNvPicPr>
              <p:nvPr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1494" y="2412"/>
                <a:ext cx="1394" cy="4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" name="Text Box 50"/>
              <p:cNvSpPr txBox="1">
                <a:spLocks noChangeArrowheads="1"/>
              </p:cNvSpPr>
              <p:nvPr/>
            </p:nvSpPr>
            <p:spPr bwMode="auto">
              <a:xfrm>
                <a:off x="1546" y="2452"/>
                <a:ext cx="1291" cy="3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576" tIns="0" rIns="36576" bIns="0" anchor="ctr" anchorCtr="1"/>
              <a:lstStyle/>
              <a:p>
                <a:r>
                  <a:rPr lang="en-US" sz="1000" dirty="0">
                    <a:solidFill>
                      <a:srgbClr val="000000"/>
                    </a:solidFill>
                    <a:latin typeface="Arial" charset="0"/>
                  </a:rPr>
                  <a:t>Maintenance Operations</a:t>
                </a:r>
              </a:p>
              <a:p>
                <a:r>
                  <a:rPr lang="en-US" sz="1000" dirty="0">
                    <a:solidFill>
                      <a:srgbClr val="000000"/>
                    </a:solidFill>
                    <a:latin typeface="Arial" charset="0"/>
                  </a:rPr>
                  <a:t>(includes depot maintenance)</a:t>
                </a:r>
                <a:endParaRPr lang="en-US" sz="1800" dirty="0">
                  <a:solidFill>
                    <a:srgbClr val="FFFFFF"/>
                  </a:solidFill>
                  <a:latin typeface="Arial" charset="0"/>
                </a:endParaRPr>
              </a:p>
            </p:txBody>
          </p:sp>
        </p:grpSp>
        <p:grpSp>
          <p:nvGrpSpPr>
            <p:cNvPr id="24" name="AutoShape 12"/>
            <p:cNvGrpSpPr>
              <a:grpSpLocks/>
            </p:cNvGrpSpPr>
            <p:nvPr/>
          </p:nvGrpSpPr>
          <p:grpSpPr bwMode="auto">
            <a:xfrm>
              <a:off x="2370535" y="5251026"/>
              <a:ext cx="2188946" cy="336632"/>
              <a:chOff x="1494" y="2838"/>
              <a:chExt cx="1394" cy="330"/>
            </a:xfrm>
          </p:grpSpPr>
          <p:pic>
            <p:nvPicPr>
              <p:cNvPr id="58" name="AutoShape 12"/>
              <p:cNvPicPr>
                <a:picLocks noChangeArrowheads="1"/>
              </p:cNvPicPr>
              <p:nvPr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1494" y="2838"/>
                <a:ext cx="1394" cy="33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9" name="Text Box 53"/>
              <p:cNvSpPr txBox="1">
                <a:spLocks noChangeArrowheads="1"/>
              </p:cNvSpPr>
              <p:nvPr/>
            </p:nvSpPr>
            <p:spPr bwMode="auto">
              <a:xfrm>
                <a:off x="1542" y="2865"/>
                <a:ext cx="1299" cy="2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576" tIns="0" rIns="36576" bIns="0" anchor="ctr" anchorCtr="1"/>
              <a:lstStyle/>
              <a:p>
                <a:r>
                  <a:rPr lang="en-US" sz="1000" dirty="0">
                    <a:solidFill>
                      <a:srgbClr val="000000"/>
                    </a:solidFill>
                    <a:latin typeface="Arial" charset="0"/>
                  </a:rPr>
                  <a:t>Production &amp; Support</a:t>
                </a:r>
                <a:endParaRPr lang="en-US" sz="1800" dirty="0">
                  <a:solidFill>
                    <a:srgbClr val="FFFFFF"/>
                  </a:solidFill>
                  <a:latin typeface="Arial" charset="0"/>
                </a:endParaRPr>
              </a:p>
            </p:txBody>
          </p:sp>
        </p:grpSp>
        <p:grpSp>
          <p:nvGrpSpPr>
            <p:cNvPr id="25" name="AutoShape 16"/>
            <p:cNvGrpSpPr>
              <a:grpSpLocks/>
            </p:cNvGrpSpPr>
            <p:nvPr/>
          </p:nvGrpSpPr>
          <p:grpSpPr bwMode="auto">
            <a:xfrm>
              <a:off x="159541" y="4802600"/>
              <a:ext cx="2188946" cy="474345"/>
              <a:chOff x="96" y="2419"/>
              <a:chExt cx="1394" cy="465"/>
            </a:xfrm>
          </p:grpSpPr>
          <p:pic>
            <p:nvPicPr>
              <p:cNvPr id="56" name="AutoShape 16"/>
              <p:cNvPicPr>
                <a:picLocks noChangeArrowheads="1"/>
              </p:cNvPicPr>
              <p:nvPr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96" y="2419"/>
                <a:ext cx="1394" cy="4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7" name="Text Box 56"/>
              <p:cNvSpPr txBox="1">
                <a:spLocks noChangeArrowheads="1"/>
              </p:cNvSpPr>
              <p:nvPr/>
            </p:nvSpPr>
            <p:spPr bwMode="auto">
              <a:xfrm>
                <a:off x="150" y="2451"/>
                <a:ext cx="1291" cy="3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576" tIns="0" rIns="36576" bIns="0" anchor="ctr" anchorCtr="1"/>
              <a:lstStyle/>
              <a:p>
                <a:r>
                  <a:rPr lang="en-US" sz="1000" dirty="0">
                    <a:solidFill>
                      <a:srgbClr val="000000"/>
                    </a:solidFill>
                    <a:latin typeface="Arial" charset="0"/>
                  </a:rPr>
                  <a:t>Forecasting and Demand Planning </a:t>
                </a:r>
                <a:endParaRPr lang="en-US" sz="1800" dirty="0">
                  <a:solidFill>
                    <a:srgbClr val="FFFFFF"/>
                  </a:solidFill>
                  <a:latin typeface="Arial" charset="0"/>
                </a:endParaRPr>
              </a:p>
            </p:txBody>
          </p:sp>
        </p:grpSp>
        <p:grpSp>
          <p:nvGrpSpPr>
            <p:cNvPr id="26" name="AutoShape 17"/>
            <p:cNvGrpSpPr>
              <a:grpSpLocks/>
            </p:cNvGrpSpPr>
            <p:nvPr/>
          </p:nvGrpSpPr>
          <p:grpSpPr bwMode="auto">
            <a:xfrm>
              <a:off x="159541" y="5230020"/>
              <a:ext cx="2188946" cy="340712"/>
              <a:chOff x="96" y="2838"/>
              <a:chExt cx="1394" cy="334"/>
            </a:xfrm>
          </p:grpSpPr>
          <p:pic>
            <p:nvPicPr>
              <p:cNvPr id="54" name="AutoShape 17"/>
              <p:cNvPicPr>
                <a:picLocks noChangeArrowheads="1"/>
              </p:cNvPicPr>
              <p:nvPr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96" y="2838"/>
                <a:ext cx="1394" cy="33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5" name="Text Box 59"/>
              <p:cNvSpPr txBox="1">
                <a:spLocks noChangeArrowheads="1"/>
              </p:cNvSpPr>
              <p:nvPr/>
            </p:nvSpPr>
            <p:spPr bwMode="auto">
              <a:xfrm>
                <a:off x="146" y="2864"/>
                <a:ext cx="1299" cy="23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576" tIns="0" rIns="36576" bIns="0" anchor="ctr" anchorCtr="1"/>
              <a:lstStyle/>
              <a:p>
                <a:r>
                  <a:rPr lang="en-US" sz="1000" dirty="0">
                    <a:solidFill>
                      <a:srgbClr val="000000"/>
                    </a:solidFill>
                    <a:latin typeface="Arial" charset="0"/>
                  </a:rPr>
                  <a:t>Supply Planning</a:t>
                </a:r>
                <a:endParaRPr lang="en-US" sz="1800" dirty="0">
                  <a:solidFill>
                    <a:srgbClr val="FFFFFF"/>
                  </a:solidFill>
                  <a:latin typeface="Arial" charset="0"/>
                </a:endParaRPr>
              </a:p>
            </p:txBody>
          </p:sp>
        </p:grpSp>
        <p:grpSp>
          <p:nvGrpSpPr>
            <p:cNvPr id="27" name="AutoShape 18"/>
            <p:cNvGrpSpPr>
              <a:grpSpLocks/>
            </p:cNvGrpSpPr>
            <p:nvPr/>
          </p:nvGrpSpPr>
          <p:grpSpPr bwMode="auto">
            <a:xfrm>
              <a:off x="159541" y="5530949"/>
              <a:ext cx="2188946" cy="337652"/>
              <a:chOff x="96" y="3133"/>
              <a:chExt cx="1394" cy="331"/>
            </a:xfrm>
          </p:grpSpPr>
          <p:pic>
            <p:nvPicPr>
              <p:cNvPr id="52" name="AutoShape 18"/>
              <p:cNvPicPr>
                <a:picLocks noChangeArrowheads="1"/>
              </p:cNvPicPr>
              <p:nvPr/>
            </p:nvPicPr>
            <p:blipFill>
              <a:blip r:embed="rId17" cstate="print"/>
              <a:srcRect/>
              <a:stretch>
                <a:fillRect/>
              </a:stretch>
            </p:blipFill>
            <p:spPr bwMode="auto">
              <a:xfrm>
                <a:off x="96" y="3133"/>
                <a:ext cx="1394" cy="3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3" name="Text Box 62"/>
              <p:cNvSpPr txBox="1">
                <a:spLocks noChangeArrowheads="1"/>
              </p:cNvSpPr>
              <p:nvPr/>
            </p:nvSpPr>
            <p:spPr bwMode="auto">
              <a:xfrm>
                <a:off x="146" y="3159"/>
                <a:ext cx="1299" cy="23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576" tIns="0" rIns="36576" bIns="0" anchor="ctr" anchorCtr="1"/>
              <a:lstStyle/>
              <a:p>
                <a:r>
                  <a:rPr lang="en-US" sz="1000" dirty="0">
                    <a:solidFill>
                      <a:srgbClr val="000000"/>
                    </a:solidFill>
                    <a:latin typeface="Arial" charset="0"/>
                  </a:rPr>
                  <a:t>Sourcing</a:t>
                </a:r>
                <a:endParaRPr lang="en-US" sz="1800" dirty="0">
                  <a:solidFill>
                    <a:srgbClr val="FFFFFF"/>
                  </a:solidFill>
                  <a:latin typeface="Arial" charset="0"/>
                </a:endParaRPr>
              </a:p>
            </p:txBody>
          </p:sp>
        </p:grpSp>
        <p:grpSp>
          <p:nvGrpSpPr>
            <p:cNvPr id="28" name="AutoShape 19"/>
            <p:cNvGrpSpPr>
              <a:grpSpLocks/>
            </p:cNvGrpSpPr>
            <p:nvPr/>
          </p:nvGrpSpPr>
          <p:grpSpPr bwMode="auto">
            <a:xfrm>
              <a:off x="159541" y="5809435"/>
              <a:ext cx="2188946" cy="340712"/>
              <a:chOff x="96" y="3406"/>
              <a:chExt cx="1394" cy="334"/>
            </a:xfrm>
          </p:grpSpPr>
          <p:pic>
            <p:nvPicPr>
              <p:cNvPr id="50" name="AutoShape 19"/>
              <p:cNvPicPr>
                <a:picLocks noChangeArrowheads="1"/>
              </p:cNvPicPr>
              <p:nvPr/>
            </p:nvPicPr>
            <p:blipFill>
              <a:blip r:embed="rId18" cstate="print"/>
              <a:srcRect/>
              <a:stretch>
                <a:fillRect/>
              </a:stretch>
            </p:blipFill>
            <p:spPr bwMode="auto">
              <a:xfrm>
                <a:off x="96" y="3406"/>
                <a:ext cx="1394" cy="33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1" name="Text Box 65"/>
              <p:cNvSpPr txBox="1">
                <a:spLocks noChangeArrowheads="1"/>
              </p:cNvSpPr>
              <p:nvPr/>
            </p:nvSpPr>
            <p:spPr bwMode="auto">
              <a:xfrm>
                <a:off x="146" y="3432"/>
                <a:ext cx="1299" cy="23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576" tIns="0" rIns="36576" bIns="0" anchor="ctr" anchorCtr="1"/>
              <a:lstStyle/>
              <a:p>
                <a:r>
                  <a:rPr lang="en-US" sz="1000" dirty="0">
                    <a:solidFill>
                      <a:srgbClr val="000000"/>
                    </a:solidFill>
                    <a:latin typeface="Arial" charset="0"/>
                  </a:rPr>
                  <a:t>Inventory Management</a:t>
                </a:r>
                <a:endParaRPr lang="en-US" sz="1800" dirty="0">
                  <a:solidFill>
                    <a:srgbClr val="FFFFFF"/>
                  </a:solidFill>
                  <a:latin typeface="Arial" charset="0"/>
                </a:endParaRPr>
              </a:p>
            </p:txBody>
          </p:sp>
        </p:grpSp>
        <p:grpSp>
          <p:nvGrpSpPr>
            <p:cNvPr id="29" name="AutoShape 24"/>
            <p:cNvGrpSpPr>
              <a:grpSpLocks/>
            </p:cNvGrpSpPr>
            <p:nvPr/>
          </p:nvGrpSpPr>
          <p:grpSpPr bwMode="auto">
            <a:xfrm>
              <a:off x="6782166" y="4693347"/>
              <a:ext cx="2220352" cy="380496"/>
              <a:chOff x="4285" y="2688"/>
              <a:chExt cx="1414" cy="373"/>
            </a:xfrm>
          </p:grpSpPr>
          <p:pic>
            <p:nvPicPr>
              <p:cNvPr id="48" name="AutoShape 24"/>
              <p:cNvPicPr>
                <a:picLocks noChangeArrowheads="1"/>
              </p:cNvPicPr>
              <p:nvPr/>
            </p:nvPicPr>
            <p:blipFill>
              <a:blip r:embed="rId19" cstate="print"/>
              <a:srcRect/>
              <a:stretch>
                <a:fillRect/>
              </a:stretch>
            </p:blipFill>
            <p:spPr bwMode="auto">
              <a:xfrm>
                <a:off x="4285" y="2688"/>
                <a:ext cx="1414" cy="37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9" name="Text Box 71"/>
              <p:cNvSpPr txBox="1">
                <a:spLocks noChangeArrowheads="1"/>
              </p:cNvSpPr>
              <p:nvPr/>
            </p:nvSpPr>
            <p:spPr bwMode="auto">
              <a:xfrm>
                <a:off x="4335" y="2708"/>
                <a:ext cx="1297" cy="2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576" tIns="0" rIns="36576" bIns="0" anchor="ctr" anchorCtr="1"/>
              <a:lstStyle/>
              <a:p>
                <a:r>
                  <a:rPr lang="en-US" sz="1000" dirty="0">
                    <a:solidFill>
                      <a:srgbClr val="000000"/>
                    </a:solidFill>
                    <a:latin typeface="Arial" charset="0"/>
                  </a:rPr>
                  <a:t>Integrated </a:t>
                </a:r>
                <a:r>
                  <a:rPr lang="en-US" sz="1000" dirty="0" smtClean="0">
                    <a:solidFill>
                      <a:srgbClr val="000000"/>
                    </a:solidFill>
                    <a:latin typeface="Arial" charset="0"/>
                  </a:rPr>
                  <a:t>Product Support </a:t>
                </a:r>
                <a:r>
                  <a:rPr lang="en-US" sz="1000" dirty="0">
                    <a:solidFill>
                      <a:srgbClr val="000000"/>
                    </a:solidFill>
                    <a:latin typeface="Arial" charset="0"/>
                  </a:rPr>
                  <a:t>Planning</a:t>
                </a:r>
                <a:endParaRPr lang="en-US" sz="1800" dirty="0">
                  <a:solidFill>
                    <a:srgbClr val="FFFFFF"/>
                  </a:solidFill>
                  <a:latin typeface="Arial" charset="0"/>
                </a:endParaRPr>
              </a:p>
            </p:txBody>
          </p:sp>
        </p:grpSp>
        <p:grpSp>
          <p:nvGrpSpPr>
            <p:cNvPr id="30" name="AutoShape 25"/>
            <p:cNvGrpSpPr>
              <a:grpSpLocks/>
            </p:cNvGrpSpPr>
            <p:nvPr/>
          </p:nvGrpSpPr>
          <p:grpSpPr bwMode="auto">
            <a:xfrm>
              <a:off x="6782166" y="4964849"/>
              <a:ext cx="2188946" cy="297868"/>
              <a:chOff x="4285" y="2999"/>
              <a:chExt cx="1394" cy="292"/>
            </a:xfrm>
          </p:grpSpPr>
          <p:pic>
            <p:nvPicPr>
              <p:cNvPr id="46" name="AutoShape 25"/>
              <p:cNvPicPr>
                <a:picLocks noChangeArrowheads="1"/>
              </p:cNvPicPr>
              <p:nvPr/>
            </p:nvPicPr>
            <p:blipFill>
              <a:blip r:embed="rId20" cstate="print"/>
              <a:srcRect/>
              <a:stretch>
                <a:fillRect/>
              </a:stretch>
            </p:blipFill>
            <p:spPr bwMode="auto">
              <a:xfrm>
                <a:off x="4285" y="3031"/>
                <a:ext cx="1394" cy="2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7" name="Text Box 74"/>
              <p:cNvSpPr txBox="1">
                <a:spLocks noChangeArrowheads="1"/>
              </p:cNvSpPr>
              <p:nvPr/>
            </p:nvSpPr>
            <p:spPr bwMode="auto">
              <a:xfrm>
                <a:off x="4335" y="2999"/>
                <a:ext cx="1297" cy="2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576" tIns="0" rIns="36576" bIns="0" anchor="ctr" anchorCtr="1"/>
              <a:lstStyle/>
              <a:p>
                <a:r>
                  <a:rPr lang="en-US" sz="1000" dirty="0">
                    <a:solidFill>
                      <a:srgbClr val="000000"/>
                    </a:solidFill>
                    <a:latin typeface="Arial" charset="0"/>
                  </a:rPr>
                  <a:t>Product Support &amp; Sustainment</a:t>
                </a:r>
                <a:endParaRPr lang="en-US" sz="1800" dirty="0">
                  <a:solidFill>
                    <a:srgbClr val="FFFFFF"/>
                  </a:solidFill>
                  <a:latin typeface="Arial" charset="0"/>
                </a:endParaRPr>
              </a:p>
            </p:txBody>
          </p:sp>
        </p:grpSp>
        <p:grpSp>
          <p:nvGrpSpPr>
            <p:cNvPr id="31" name="AutoShape 26"/>
            <p:cNvGrpSpPr>
              <a:grpSpLocks/>
            </p:cNvGrpSpPr>
            <p:nvPr/>
          </p:nvGrpSpPr>
          <p:grpSpPr bwMode="auto">
            <a:xfrm>
              <a:off x="6782166" y="5214843"/>
              <a:ext cx="2188946" cy="246863"/>
              <a:chOff x="4285" y="3245"/>
              <a:chExt cx="1394" cy="242"/>
            </a:xfrm>
          </p:grpSpPr>
          <p:pic>
            <p:nvPicPr>
              <p:cNvPr id="44" name="AutoShape 26"/>
              <p:cNvPicPr>
                <a:picLocks noChangeArrowheads="1"/>
              </p:cNvPicPr>
              <p:nvPr/>
            </p:nvPicPr>
            <p:blipFill>
              <a:blip r:embed="rId21" cstate="print"/>
              <a:srcRect/>
              <a:stretch>
                <a:fillRect/>
              </a:stretch>
            </p:blipFill>
            <p:spPr bwMode="auto">
              <a:xfrm>
                <a:off x="4285" y="3245"/>
                <a:ext cx="1394" cy="24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5" name="Text Box 77"/>
              <p:cNvSpPr txBox="1">
                <a:spLocks noChangeArrowheads="1"/>
              </p:cNvSpPr>
              <p:nvPr/>
            </p:nvSpPr>
            <p:spPr bwMode="auto">
              <a:xfrm>
                <a:off x="4331" y="3287"/>
                <a:ext cx="1305" cy="1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576" tIns="0" rIns="36576" bIns="0" anchor="ctr" anchorCtr="1"/>
              <a:lstStyle/>
              <a:p>
                <a:r>
                  <a:rPr lang="en-US" sz="1000" dirty="0">
                    <a:solidFill>
                      <a:srgbClr val="000000"/>
                    </a:solidFill>
                    <a:latin typeface="Arial" charset="0"/>
                  </a:rPr>
                  <a:t>Configuration Management</a:t>
                </a:r>
                <a:endParaRPr lang="en-US" sz="1800" dirty="0">
                  <a:solidFill>
                    <a:srgbClr val="FFFFFF"/>
                  </a:solidFill>
                  <a:latin typeface="Arial" charset="0"/>
                </a:endParaRPr>
              </a:p>
            </p:txBody>
          </p:sp>
        </p:grpSp>
        <p:grpSp>
          <p:nvGrpSpPr>
            <p:cNvPr id="32" name="AutoShape 27"/>
            <p:cNvGrpSpPr>
              <a:grpSpLocks/>
            </p:cNvGrpSpPr>
            <p:nvPr/>
          </p:nvGrpSpPr>
          <p:grpSpPr bwMode="auto">
            <a:xfrm>
              <a:off x="6737341" y="5398307"/>
              <a:ext cx="2273741" cy="379476"/>
              <a:chOff x="4266" y="3468"/>
              <a:chExt cx="1448" cy="372"/>
            </a:xfrm>
          </p:grpSpPr>
          <p:pic>
            <p:nvPicPr>
              <p:cNvPr id="42" name="AutoShape 27"/>
              <p:cNvPicPr>
                <a:picLocks noChangeArrowheads="1"/>
              </p:cNvPicPr>
              <p:nvPr/>
            </p:nvPicPr>
            <p:blipFill>
              <a:blip r:embed="rId22" cstate="print"/>
              <a:srcRect/>
              <a:stretch>
                <a:fillRect/>
              </a:stretch>
            </p:blipFill>
            <p:spPr bwMode="auto">
              <a:xfrm>
                <a:off x="4266" y="3468"/>
                <a:ext cx="1448" cy="3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3" name="Text Box 80"/>
              <p:cNvSpPr txBox="1">
                <a:spLocks noChangeArrowheads="1"/>
              </p:cNvSpPr>
              <p:nvPr/>
            </p:nvSpPr>
            <p:spPr bwMode="auto">
              <a:xfrm>
                <a:off x="4335" y="3516"/>
                <a:ext cx="1297" cy="2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576" tIns="0" rIns="36576" bIns="0" anchor="ctr" anchorCtr="1"/>
              <a:lstStyle/>
              <a:p>
                <a:r>
                  <a:rPr lang="en-US" sz="1000" dirty="0">
                    <a:solidFill>
                      <a:srgbClr val="000000"/>
                    </a:solidFill>
                    <a:latin typeface="Arial" charset="0"/>
                  </a:rPr>
                  <a:t>Reliability &amp; Maintainability Analysis</a:t>
                </a:r>
                <a:endParaRPr lang="en-US" sz="1800" dirty="0">
                  <a:solidFill>
                    <a:srgbClr val="FFFFFF"/>
                  </a:solidFill>
                  <a:latin typeface="Arial" charset="0"/>
                </a:endParaRPr>
              </a:p>
            </p:txBody>
          </p:sp>
        </p:grpSp>
        <p:grpSp>
          <p:nvGrpSpPr>
            <p:cNvPr id="33" name="AutoShape 28"/>
            <p:cNvGrpSpPr>
              <a:grpSpLocks/>
            </p:cNvGrpSpPr>
            <p:nvPr/>
          </p:nvGrpSpPr>
          <p:grpSpPr bwMode="auto">
            <a:xfrm>
              <a:off x="6782166" y="5696678"/>
              <a:ext cx="2188946" cy="380496"/>
              <a:chOff x="4285" y="3667"/>
              <a:chExt cx="1394" cy="373"/>
            </a:xfrm>
          </p:grpSpPr>
          <p:pic>
            <p:nvPicPr>
              <p:cNvPr id="40" name="AutoShape 28"/>
              <p:cNvPicPr>
                <a:picLocks noChangeArrowheads="1"/>
              </p:cNvPicPr>
              <p:nvPr/>
            </p:nvPicPr>
            <p:blipFill>
              <a:blip r:embed="rId23" cstate="print"/>
              <a:srcRect/>
              <a:stretch>
                <a:fillRect/>
              </a:stretch>
            </p:blipFill>
            <p:spPr bwMode="auto">
              <a:xfrm>
                <a:off x="4285" y="3667"/>
                <a:ext cx="1394" cy="37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1" name="Text Box 83"/>
              <p:cNvSpPr txBox="1">
                <a:spLocks noChangeArrowheads="1"/>
              </p:cNvSpPr>
              <p:nvPr/>
            </p:nvSpPr>
            <p:spPr bwMode="auto">
              <a:xfrm>
                <a:off x="4335" y="3702"/>
                <a:ext cx="1297" cy="2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576" tIns="0" rIns="36576" bIns="0" anchor="ctr" anchorCtr="1"/>
              <a:lstStyle/>
              <a:p>
                <a:r>
                  <a:rPr lang="en-US" sz="1000" dirty="0">
                    <a:solidFill>
                      <a:srgbClr val="000000"/>
                    </a:solidFill>
                    <a:latin typeface="Arial" charset="0"/>
                  </a:rPr>
                  <a:t>Technical/Product Data Management</a:t>
                </a:r>
                <a:endParaRPr lang="en-US" sz="1800" dirty="0">
                  <a:solidFill>
                    <a:srgbClr val="FFFFFF"/>
                  </a:solidFill>
                  <a:latin typeface="Arial" charset="0"/>
                </a:endParaRPr>
              </a:p>
            </p:txBody>
          </p:sp>
        </p:grpSp>
        <p:grpSp>
          <p:nvGrpSpPr>
            <p:cNvPr id="34" name="AutoShape 29"/>
            <p:cNvGrpSpPr>
              <a:grpSpLocks/>
            </p:cNvGrpSpPr>
            <p:nvPr/>
          </p:nvGrpSpPr>
          <p:grpSpPr bwMode="auto">
            <a:xfrm>
              <a:off x="6782166" y="5984413"/>
              <a:ext cx="2188946" cy="246863"/>
              <a:chOff x="4285" y="3963"/>
              <a:chExt cx="1394" cy="242"/>
            </a:xfrm>
          </p:grpSpPr>
          <p:pic>
            <p:nvPicPr>
              <p:cNvPr id="38" name="AutoShape 29"/>
              <p:cNvPicPr>
                <a:picLocks noChangeArrowheads="1"/>
              </p:cNvPicPr>
              <p:nvPr/>
            </p:nvPicPr>
            <p:blipFill>
              <a:blip r:embed="rId24" cstate="print"/>
              <a:srcRect/>
              <a:stretch>
                <a:fillRect/>
              </a:stretch>
            </p:blipFill>
            <p:spPr bwMode="auto">
              <a:xfrm>
                <a:off x="4285" y="3963"/>
                <a:ext cx="1394" cy="24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9" name="Text Box 86"/>
              <p:cNvSpPr txBox="1">
                <a:spLocks noChangeArrowheads="1"/>
              </p:cNvSpPr>
              <p:nvPr/>
            </p:nvSpPr>
            <p:spPr bwMode="auto">
              <a:xfrm>
                <a:off x="4331" y="4005"/>
                <a:ext cx="1305" cy="1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576" tIns="0" rIns="36576" bIns="0" anchor="ctr" anchorCtr="1"/>
              <a:lstStyle/>
              <a:p>
                <a:r>
                  <a:rPr lang="en-US" sz="1000" dirty="0">
                    <a:solidFill>
                      <a:srgbClr val="000000"/>
                    </a:solidFill>
                    <a:latin typeface="Arial" charset="0"/>
                  </a:rPr>
                  <a:t>Supportability Analysis</a:t>
                </a:r>
                <a:endParaRPr lang="en-US" sz="1800" dirty="0">
                  <a:solidFill>
                    <a:srgbClr val="FFFFFF"/>
                  </a:solidFill>
                  <a:latin typeface="Arial" charset="0"/>
                </a:endParaRPr>
              </a:p>
            </p:txBody>
          </p:sp>
        </p:grpSp>
        <p:grpSp>
          <p:nvGrpSpPr>
            <p:cNvPr id="35" name="Group 98"/>
            <p:cNvGrpSpPr>
              <a:grpSpLocks/>
            </p:cNvGrpSpPr>
            <p:nvPr/>
          </p:nvGrpSpPr>
          <p:grpSpPr bwMode="auto">
            <a:xfrm>
              <a:off x="6786002" y="4490691"/>
              <a:ext cx="2188946" cy="250944"/>
              <a:chOff x="9409252" y="3480929"/>
              <a:chExt cx="2188946" cy="250944"/>
            </a:xfrm>
          </p:grpSpPr>
          <p:pic>
            <p:nvPicPr>
              <p:cNvPr id="36" name="AutoShape 23"/>
              <p:cNvPicPr>
                <a:picLocks noChangeArrowheads="1"/>
              </p:cNvPicPr>
              <p:nvPr/>
            </p:nvPicPr>
            <p:blipFill>
              <a:blip r:embed="rId25" cstate="print"/>
              <a:srcRect/>
              <a:stretch>
                <a:fillRect/>
              </a:stretch>
            </p:blipFill>
            <p:spPr bwMode="auto">
              <a:xfrm>
                <a:off x="9409252" y="3480929"/>
                <a:ext cx="2188946" cy="2509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7" name="Text Box 68"/>
              <p:cNvSpPr txBox="1">
                <a:spLocks noChangeArrowheads="1"/>
              </p:cNvSpPr>
              <p:nvPr/>
            </p:nvSpPr>
            <p:spPr bwMode="auto">
              <a:xfrm>
                <a:off x="9481484" y="3526589"/>
                <a:ext cx="2049193" cy="1336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576" tIns="0" rIns="36576" bIns="0" anchor="ctr" anchorCtr="1"/>
              <a:lstStyle/>
              <a:p>
                <a:r>
                  <a:rPr lang="en-US" sz="1000" dirty="0">
                    <a:solidFill>
                      <a:srgbClr val="000000"/>
                    </a:solidFill>
                    <a:latin typeface="Arial" charset="0"/>
                  </a:rPr>
                  <a:t>Logistics Design Influence</a:t>
                </a:r>
                <a:endParaRPr lang="en-US" sz="1800" dirty="0">
                  <a:solidFill>
                    <a:srgbClr val="FFFFFF"/>
                  </a:solidFill>
                  <a:latin typeface="Arial" charset="0"/>
                </a:endParaRPr>
              </a:p>
            </p:txBody>
          </p:sp>
        </p:grpSp>
      </p:grpSp>
      <p:grpSp>
        <p:nvGrpSpPr>
          <p:cNvPr id="80" name="Group 85"/>
          <p:cNvGrpSpPr>
            <a:grpSpLocks/>
          </p:cNvGrpSpPr>
          <p:nvPr/>
        </p:nvGrpSpPr>
        <p:grpSpPr bwMode="auto">
          <a:xfrm>
            <a:off x="476250" y="5819775"/>
            <a:ext cx="8180388" cy="908050"/>
            <a:chOff x="476250" y="5684838"/>
            <a:chExt cx="8180388" cy="908050"/>
          </a:xfrm>
        </p:grpSpPr>
        <p:grpSp>
          <p:nvGrpSpPr>
            <p:cNvPr id="81" name="Left-Right Arrow 20"/>
            <p:cNvGrpSpPr>
              <a:grpSpLocks/>
            </p:cNvGrpSpPr>
            <p:nvPr/>
          </p:nvGrpSpPr>
          <p:grpSpPr bwMode="auto">
            <a:xfrm>
              <a:off x="476250" y="5684838"/>
              <a:ext cx="8180388" cy="908050"/>
              <a:chOff x="300" y="3629"/>
              <a:chExt cx="5153" cy="572"/>
            </a:xfrm>
          </p:grpSpPr>
          <p:pic>
            <p:nvPicPr>
              <p:cNvPr id="83" name="Left-Right Arrow 20"/>
              <p:cNvPicPr>
                <a:picLocks noChangeArrowheads="1"/>
              </p:cNvPicPr>
              <p:nvPr/>
            </p:nvPicPr>
            <p:blipFill>
              <a:blip r:embed="rId26" cstate="print"/>
              <a:srcRect/>
              <a:stretch>
                <a:fillRect/>
              </a:stretch>
            </p:blipFill>
            <p:spPr bwMode="auto">
              <a:xfrm>
                <a:off x="300" y="3629"/>
                <a:ext cx="5153" cy="5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84" name="Text Box 33"/>
              <p:cNvSpPr txBox="1">
                <a:spLocks noChangeArrowheads="1"/>
              </p:cNvSpPr>
              <p:nvPr/>
            </p:nvSpPr>
            <p:spPr bwMode="auto">
              <a:xfrm>
                <a:off x="465" y="3778"/>
                <a:ext cx="4828" cy="2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  <a:latin typeface="Arial" charset="0"/>
                </a:endParaRPr>
              </a:p>
            </p:txBody>
          </p:sp>
        </p:grpSp>
        <p:sp>
          <p:nvSpPr>
            <p:cNvPr id="82" name="TextBox 11"/>
            <p:cNvSpPr txBox="1">
              <a:spLocks noChangeArrowheads="1"/>
            </p:cNvSpPr>
            <p:nvPr/>
          </p:nvSpPr>
          <p:spPr bwMode="auto">
            <a:xfrm>
              <a:off x="1028700" y="5937687"/>
              <a:ext cx="7188200" cy="368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Bottom line:  Support the Warfighter!</a:t>
              </a:r>
            </a:p>
          </p:txBody>
        </p:sp>
      </p:grpSp>
      <p:sp>
        <p:nvSpPr>
          <p:cNvPr id="85" name="Rectangle 90"/>
          <p:cNvSpPr>
            <a:spLocks noChangeArrowheads="1"/>
          </p:cNvSpPr>
          <p:nvPr/>
        </p:nvSpPr>
        <p:spPr bwMode="auto">
          <a:xfrm>
            <a:off x="1903295" y="80126"/>
            <a:ext cx="6840335" cy="720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5988"/>
            <a:r>
              <a:rPr lang="en-US" i="1" dirty="0">
                <a:solidFill>
                  <a:srgbClr val="000099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our Logistics Workforce Categories </a:t>
            </a:r>
          </a:p>
          <a:p>
            <a:pPr defTabSz="915988"/>
            <a:r>
              <a:rPr lang="en-US" i="1" dirty="0">
                <a:solidFill>
                  <a:srgbClr val="000099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</a:t>
            </a:r>
            <a:r>
              <a:rPr lang="en-US" i="1" dirty="0" smtClean="0">
                <a:solidFill>
                  <a:srgbClr val="000099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om 2008 DoD Logistics Human Capital Strategy (HCS)</a:t>
            </a:r>
            <a:endParaRPr lang="en-US" i="1" dirty="0">
              <a:solidFill>
                <a:srgbClr val="000099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2133600" y="723890"/>
            <a:ext cx="609949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eaLnBrk="1" hangingPunct="1">
              <a:lnSpc>
                <a:spcPct val="100000"/>
              </a:lnSpc>
            </a:pPr>
            <a:r>
              <a:rPr lang="en-US" sz="1400" i="1" dirty="0" smtClean="0">
                <a:solidFill>
                  <a:srgbClr val="000000"/>
                </a:solidFill>
                <a:latin typeface="Arial" charset="0"/>
              </a:rPr>
              <a:t>Shortcut Link - </a:t>
            </a:r>
            <a:r>
              <a:rPr lang="en-US" sz="1400" u="sng" dirty="0" smtClean="0">
                <a:solidFill>
                  <a:srgbClr val="0000FF"/>
                </a:solidFill>
                <a:latin typeface="Arial" charset="0"/>
              </a:rPr>
              <a:t>http</a:t>
            </a:r>
            <a:r>
              <a:rPr lang="en-US" sz="1400" u="sng" dirty="0">
                <a:solidFill>
                  <a:srgbClr val="0000FF"/>
                </a:solidFill>
                <a:latin typeface="Arial" charset="0"/>
              </a:rPr>
              <a:t>://www.acq.osd.mil/log/sci/log_human_capital.html</a:t>
            </a:r>
          </a:p>
        </p:txBody>
      </p:sp>
    </p:spTree>
    <p:extLst>
      <p:ext uri="{BB962C8B-B14F-4D97-AF65-F5344CB8AC3E}">
        <p14:creationId xmlns:p14="http://schemas.microsoft.com/office/powerpoint/2010/main" val="3782124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 advTm="9195"/>
    </mc:Choice>
    <mc:Fallback xmlns="">
      <p:transition spd="slow" advTm="9195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642" y="67597"/>
            <a:ext cx="6858000" cy="776922"/>
          </a:xfrm>
        </p:spPr>
        <p:txBody>
          <a:bodyPr/>
          <a:lstStyle/>
          <a:p>
            <a:pPr algn="ctr"/>
            <a:r>
              <a:rPr lang="en-US" sz="2800" b="1" i="1" kern="0" dirty="0">
                <a:solidFill>
                  <a:srgbClr val="000099"/>
                </a:solidFill>
                <a:latin typeface="Arial Narrow" pitchFamily="34" charset="0"/>
                <a:cs typeface="+mj-cs"/>
              </a:rPr>
              <a:t>Product Support Statutory </a:t>
            </a:r>
            <a:r>
              <a:rPr lang="en-US" sz="2800" b="1" i="1" kern="0" dirty="0" smtClean="0">
                <a:solidFill>
                  <a:srgbClr val="000099"/>
                </a:solidFill>
                <a:latin typeface="Arial Narrow" pitchFamily="34" charset="0"/>
                <a:cs typeface="+mj-cs"/>
              </a:rPr>
              <a:t>Framework</a:t>
            </a:r>
            <a:br>
              <a:rPr lang="en-US" sz="2800" b="1" i="1" kern="0" dirty="0" smtClean="0">
                <a:solidFill>
                  <a:srgbClr val="000099"/>
                </a:solidFill>
                <a:latin typeface="Arial Narrow" pitchFamily="34" charset="0"/>
                <a:cs typeface="+mj-cs"/>
              </a:rPr>
            </a:br>
            <a:r>
              <a:rPr lang="en-US" sz="1200" b="1" i="1" kern="0" dirty="0" smtClean="0">
                <a:solidFill>
                  <a:srgbClr val="000099"/>
                </a:solidFill>
                <a:latin typeface="Arial Narrow" pitchFamily="34" charset="0"/>
                <a:cs typeface="+mj-cs"/>
              </a:rPr>
              <a:t>(See “Product Support Statutes” ACQuipedia Article for additional details at </a:t>
            </a:r>
            <a:r>
              <a:rPr lang="en-US" sz="1200" b="1" i="1" kern="0" dirty="0">
                <a:solidFill>
                  <a:srgbClr val="000099"/>
                </a:solidFill>
                <a:latin typeface="Arial Narrow" pitchFamily="34" charset="0"/>
                <a:cs typeface="+mj-cs"/>
                <a:hlinkClick r:id="rId2"/>
              </a:rPr>
              <a:t>https://</a:t>
            </a:r>
            <a:r>
              <a:rPr lang="en-US" sz="1200" b="1" i="1" kern="0" dirty="0" smtClean="0">
                <a:solidFill>
                  <a:srgbClr val="000099"/>
                </a:solidFill>
                <a:latin typeface="Arial Narrow" pitchFamily="34" charset="0"/>
                <a:cs typeface="+mj-cs"/>
                <a:hlinkClick r:id="rId2"/>
              </a:rPr>
              <a:t>www.dau.mil/acquipedia/Pages/ArticleDetails.aspx?aid=e66a7450-cd0d-48e6-b662-318df2978b35</a:t>
            </a:r>
            <a:r>
              <a:rPr lang="en-US" sz="1200" b="1" i="1" kern="0" dirty="0" smtClean="0">
                <a:solidFill>
                  <a:srgbClr val="000099"/>
                </a:solidFill>
                <a:latin typeface="Arial Narrow" pitchFamily="34" charset="0"/>
                <a:cs typeface="+mj-cs"/>
              </a:rPr>
              <a:t>) </a:t>
            </a:r>
            <a:endParaRPr lang="en-US" sz="1200" b="1" i="1" kern="0" dirty="0">
              <a:solidFill>
                <a:srgbClr val="000099"/>
              </a:solidFill>
              <a:latin typeface="Arial Narrow" pitchFamily="34" charset="0"/>
              <a:cs typeface="+mj-cs"/>
            </a:endParaRPr>
          </a:p>
        </p:txBody>
      </p:sp>
      <p:pic>
        <p:nvPicPr>
          <p:cNvPr id="4" name="Picture 2" descr="C:\Users\wakobren\AppData\Local\Microsoft\Windows\Temporary Internet Files\Content.Outlook\ELN5175W\PSBM updated v3 (4)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565986" y="2679377"/>
            <a:ext cx="4040397" cy="2364154"/>
          </a:xfrm>
          <a:prstGeom prst="rect">
            <a:avLst/>
          </a:prstGeom>
          <a:noFill/>
          <a:ln>
            <a:solidFill>
              <a:schemeClr val="tx1">
                <a:lumMod val="95000"/>
                <a:lumOff val="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-1449867" y="1042916"/>
            <a:ext cx="12063378" cy="4502573"/>
            <a:chOff x="-1449867" y="1042916"/>
            <a:chExt cx="12063378" cy="4502573"/>
          </a:xfrm>
        </p:grpSpPr>
        <p:grpSp>
          <p:nvGrpSpPr>
            <p:cNvPr id="3" name="Group 2"/>
            <p:cNvGrpSpPr/>
            <p:nvPr/>
          </p:nvGrpSpPr>
          <p:grpSpPr>
            <a:xfrm>
              <a:off x="906522" y="1174698"/>
              <a:ext cx="4572000" cy="1490673"/>
              <a:chOff x="1877785" y="1041348"/>
              <a:chExt cx="4572000" cy="1490673"/>
            </a:xfrm>
          </p:grpSpPr>
          <p:sp>
            <p:nvSpPr>
              <p:cNvPr id="15" name="8-Point Star 14"/>
              <p:cNvSpPr/>
              <p:nvPr/>
            </p:nvSpPr>
            <p:spPr>
              <a:xfrm>
                <a:off x="3623899" y="1041348"/>
                <a:ext cx="1006813" cy="1070520"/>
              </a:xfrm>
              <a:prstGeom prst="star8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rgbClr val="0033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3628763" y="1292691"/>
                <a:ext cx="1011677" cy="615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Title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10 U.S.C</a:t>
                </a: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. </a:t>
                </a:r>
                <a:r>
                  <a:rPr kumimoji="0" lang="en-US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§2208</a:t>
                </a: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1877785" y="2125756"/>
                <a:ext cx="4572000" cy="406265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“Working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dirty="0" smtClean="0">
                    <a:solidFill>
                      <a:srgbClr val="003399"/>
                    </a:solidFill>
                  </a:rPr>
                  <a:t>Capital Funds</a:t>
                </a: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”</a:t>
                </a: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4" name="Group 23"/>
            <p:cNvGrpSpPr/>
            <p:nvPr/>
          </p:nvGrpSpPr>
          <p:grpSpPr>
            <a:xfrm>
              <a:off x="3638142" y="1174698"/>
              <a:ext cx="4572000" cy="1490673"/>
              <a:chOff x="-155644" y="1901977"/>
              <a:chExt cx="4572000" cy="1490673"/>
            </a:xfrm>
          </p:grpSpPr>
          <p:sp>
            <p:nvSpPr>
              <p:cNvPr id="25" name="8-Point Star 24"/>
              <p:cNvSpPr/>
              <p:nvPr/>
            </p:nvSpPr>
            <p:spPr>
              <a:xfrm>
                <a:off x="1590470" y="1901977"/>
                <a:ext cx="1006813" cy="1070520"/>
              </a:xfrm>
              <a:prstGeom prst="star8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rgbClr val="0033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1595334" y="2153320"/>
                <a:ext cx="1011677" cy="615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Title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10 U.S.C</a:t>
                </a: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. </a:t>
                </a:r>
                <a:r>
                  <a:rPr kumimoji="0" lang="en-US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§</a:t>
                </a:r>
                <a:r>
                  <a:rPr kumimoji="0" lang="en-US" sz="15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2337a</a:t>
                </a:r>
                <a:endParaRPr kumimoji="0" lang="en-US" sz="15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-155644" y="2986385"/>
                <a:ext cx="4572000" cy="406265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“Operating &amp; Support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Costs &amp; ILAs”</a:t>
                </a: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-493465" y="1483284"/>
              <a:ext cx="4572000" cy="1490673"/>
              <a:chOff x="-155644" y="1901977"/>
              <a:chExt cx="4572000" cy="1490673"/>
            </a:xfrm>
          </p:grpSpPr>
          <p:sp>
            <p:nvSpPr>
              <p:cNvPr id="29" name="8-Point Star 28"/>
              <p:cNvSpPr/>
              <p:nvPr/>
            </p:nvSpPr>
            <p:spPr>
              <a:xfrm>
                <a:off x="1590470" y="1901977"/>
                <a:ext cx="1006813" cy="1070520"/>
              </a:xfrm>
              <a:prstGeom prst="star8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rgbClr val="0033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1595334" y="2153320"/>
                <a:ext cx="1011677" cy="615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Title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10 U.S.C</a:t>
                </a: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. </a:t>
                </a:r>
                <a:r>
                  <a:rPr kumimoji="0" lang="en-US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§2320</a:t>
                </a: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-155644" y="2986385"/>
                <a:ext cx="4572000" cy="406265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“Rights in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Technical Data”</a:t>
                </a: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32" name="Group 31"/>
            <p:cNvGrpSpPr/>
            <p:nvPr/>
          </p:nvGrpSpPr>
          <p:grpSpPr>
            <a:xfrm>
              <a:off x="5100170" y="1487933"/>
              <a:ext cx="4572000" cy="1490673"/>
              <a:chOff x="-155644" y="1901977"/>
              <a:chExt cx="4572000" cy="1490673"/>
            </a:xfrm>
          </p:grpSpPr>
          <p:sp>
            <p:nvSpPr>
              <p:cNvPr id="33" name="8-Point Star 32"/>
              <p:cNvSpPr/>
              <p:nvPr/>
            </p:nvSpPr>
            <p:spPr>
              <a:xfrm>
                <a:off x="1590470" y="1901977"/>
                <a:ext cx="1006813" cy="1070520"/>
              </a:xfrm>
              <a:prstGeom prst="star8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rgbClr val="0033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1595334" y="2153320"/>
                <a:ext cx="1011677" cy="615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Title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10 U.S.C</a:t>
                </a: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. </a:t>
                </a:r>
                <a:r>
                  <a:rPr kumimoji="0" lang="en-US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§2441</a:t>
                </a: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5" name="Rectangle 34"/>
              <p:cNvSpPr/>
              <p:nvPr/>
            </p:nvSpPr>
            <p:spPr>
              <a:xfrm>
                <a:off x="-155644" y="2986385"/>
                <a:ext cx="4572000" cy="406265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“Sustainment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Reviews”</a:t>
                </a: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40" name="Group 39"/>
            <p:cNvGrpSpPr/>
            <p:nvPr/>
          </p:nvGrpSpPr>
          <p:grpSpPr>
            <a:xfrm>
              <a:off x="-1440008" y="2518492"/>
              <a:ext cx="4572000" cy="1490673"/>
              <a:chOff x="-155644" y="1901977"/>
              <a:chExt cx="4572000" cy="1490673"/>
            </a:xfrm>
          </p:grpSpPr>
          <p:sp>
            <p:nvSpPr>
              <p:cNvPr id="41" name="8-Point Star 40"/>
              <p:cNvSpPr/>
              <p:nvPr/>
            </p:nvSpPr>
            <p:spPr>
              <a:xfrm>
                <a:off x="1590470" y="1901977"/>
                <a:ext cx="1006813" cy="1070520"/>
              </a:xfrm>
              <a:prstGeom prst="star8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rgbClr val="0033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" name="TextBox 41"/>
              <p:cNvSpPr txBox="1"/>
              <p:nvPr/>
            </p:nvSpPr>
            <p:spPr>
              <a:xfrm>
                <a:off x="1595334" y="2094952"/>
                <a:ext cx="1011677" cy="7725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Title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10 U.S.C</a:t>
                </a: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. </a:t>
                </a:r>
                <a:r>
                  <a:rPr kumimoji="0" lang="en-US" sz="14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§2366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+b</a:t>
                </a: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3" name="Rectangle 42"/>
              <p:cNvSpPr/>
              <p:nvPr/>
            </p:nvSpPr>
            <p:spPr>
              <a:xfrm>
                <a:off x="-155644" y="2986385"/>
                <a:ext cx="4572000" cy="406265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“Milestones A &amp; B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Approval Certifications”</a:t>
                </a:r>
              </a:p>
            </p:txBody>
          </p:sp>
        </p:grpSp>
        <p:grpSp>
          <p:nvGrpSpPr>
            <p:cNvPr id="60" name="Group 59"/>
            <p:cNvGrpSpPr/>
            <p:nvPr/>
          </p:nvGrpSpPr>
          <p:grpSpPr>
            <a:xfrm>
              <a:off x="6008344" y="2507536"/>
              <a:ext cx="4572000" cy="1490673"/>
              <a:chOff x="-173750" y="1901977"/>
              <a:chExt cx="4572000" cy="1490673"/>
            </a:xfrm>
          </p:grpSpPr>
          <p:sp>
            <p:nvSpPr>
              <p:cNvPr id="61" name="8-Point Star 60"/>
              <p:cNvSpPr/>
              <p:nvPr/>
            </p:nvSpPr>
            <p:spPr>
              <a:xfrm>
                <a:off x="1590470" y="1901977"/>
                <a:ext cx="1006813" cy="1070520"/>
              </a:xfrm>
              <a:prstGeom prst="star8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rgbClr val="0033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1595334" y="2153320"/>
                <a:ext cx="1011677" cy="615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Title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10 U.S.C</a:t>
                </a: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. </a:t>
                </a:r>
                <a:r>
                  <a:rPr kumimoji="0" lang="en-US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§2443</a:t>
                </a: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3" name="Rectangle 62"/>
              <p:cNvSpPr/>
              <p:nvPr/>
            </p:nvSpPr>
            <p:spPr>
              <a:xfrm>
                <a:off x="-173750" y="2986385"/>
                <a:ext cx="4572000" cy="406265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“Sustainment Factors in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Weapon System Design”</a:t>
                </a: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6041511" y="4054816"/>
              <a:ext cx="4572000" cy="1490673"/>
              <a:chOff x="-155644" y="1901977"/>
              <a:chExt cx="4572000" cy="1490673"/>
            </a:xfrm>
          </p:grpSpPr>
          <p:sp>
            <p:nvSpPr>
              <p:cNvPr id="37" name="8-Point Star 36"/>
              <p:cNvSpPr/>
              <p:nvPr/>
            </p:nvSpPr>
            <p:spPr>
              <a:xfrm>
                <a:off x="1590470" y="1901977"/>
                <a:ext cx="1006813" cy="1070520"/>
              </a:xfrm>
              <a:prstGeom prst="star8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rgbClr val="0033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" name="TextBox 37"/>
              <p:cNvSpPr txBox="1"/>
              <p:nvPr/>
            </p:nvSpPr>
            <p:spPr>
              <a:xfrm>
                <a:off x="1595334" y="2153320"/>
                <a:ext cx="1011677" cy="615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Title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10 U.S.C</a:t>
                </a: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. </a:t>
                </a:r>
                <a:r>
                  <a:rPr kumimoji="0" lang="en-US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§2437</a:t>
                </a: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9" name="Rectangle 38"/>
              <p:cNvSpPr/>
              <p:nvPr/>
            </p:nvSpPr>
            <p:spPr>
              <a:xfrm>
                <a:off x="-155644" y="2986385"/>
                <a:ext cx="4572000" cy="406265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“Replaced</a:t>
                </a:r>
                <a:r>
                  <a:rPr kumimoji="0" lang="en-US" sz="1200" b="1" i="0" u="none" strike="noStrike" kern="1200" cap="none" spc="0" normalizeH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 System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baseline="0" dirty="0" smtClean="0">
                    <a:solidFill>
                      <a:srgbClr val="003399"/>
                    </a:solidFill>
                  </a:rPr>
                  <a:t>Sustainment</a:t>
                </a: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”</a:t>
                </a: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44" name="Group 43"/>
            <p:cNvGrpSpPr/>
            <p:nvPr/>
          </p:nvGrpSpPr>
          <p:grpSpPr>
            <a:xfrm>
              <a:off x="-1449867" y="4050028"/>
              <a:ext cx="4572000" cy="1490673"/>
              <a:chOff x="-155644" y="1901977"/>
              <a:chExt cx="4572000" cy="1490673"/>
            </a:xfrm>
          </p:grpSpPr>
          <p:sp>
            <p:nvSpPr>
              <p:cNvPr id="45" name="8-Point Star 44"/>
              <p:cNvSpPr/>
              <p:nvPr/>
            </p:nvSpPr>
            <p:spPr>
              <a:xfrm>
                <a:off x="1590470" y="1901977"/>
                <a:ext cx="1006813" cy="1070520"/>
              </a:xfrm>
              <a:prstGeom prst="star8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rgbClr val="0033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1595334" y="2153320"/>
                <a:ext cx="1011677" cy="615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Title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10 U.S.C</a:t>
                </a: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. </a:t>
                </a:r>
                <a:r>
                  <a:rPr kumimoji="0" lang="en-US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§2474</a:t>
                </a: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7" name="Rectangle 46"/>
              <p:cNvSpPr/>
              <p:nvPr/>
            </p:nvSpPr>
            <p:spPr>
              <a:xfrm>
                <a:off x="-155644" y="2986385"/>
                <a:ext cx="4572000" cy="406265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“Public-Private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dirty="0" smtClean="0">
                    <a:solidFill>
                      <a:srgbClr val="003399"/>
                    </a:solidFill>
                  </a:rPr>
                  <a:t>Partnerships</a:t>
                </a: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”</a:t>
                </a: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8" name="Group 67"/>
            <p:cNvGrpSpPr/>
            <p:nvPr/>
          </p:nvGrpSpPr>
          <p:grpSpPr>
            <a:xfrm>
              <a:off x="2272042" y="1042916"/>
              <a:ext cx="4572000" cy="1490673"/>
              <a:chOff x="-155644" y="1901977"/>
              <a:chExt cx="4572000" cy="1490673"/>
            </a:xfrm>
          </p:grpSpPr>
          <p:sp>
            <p:nvSpPr>
              <p:cNvPr id="69" name="8-Point Star 68"/>
              <p:cNvSpPr/>
              <p:nvPr/>
            </p:nvSpPr>
            <p:spPr>
              <a:xfrm>
                <a:off x="1590470" y="1901977"/>
                <a:ext cx="1006813" cy="1070520"/>
              </a:xfrm>
              <a:prstGeom prst="star8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rgbClr val="0033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" name="TextBox 69"/>
              <p:cNvSpPr txBox="1"/>
              <p:nvPr/>
            </p:nvSpPr>
            <p:spPr>
              <a:xfrm>
                <a:off x="1595334" y="2153320"/>
                <a:ext cx="1011677" cy="615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Title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10 U.S.C</a:t>
                </a: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. </a:t>
                </a:r>
                <a:r>
                  <a:rPr kumimoji="0" lang="en-US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§</a:t>
                </a:r>
                <a:r>
                  <a:rPr kumimoji="0" lang="en-US" sz="15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2337</a:t>
                </a:r>
                <a:endParaRPr kumimoji="0" lang="en-US" sz="15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1" name="Rectangle 70"/>
              <p:cNvSpPr/>
              <p:nvPr/>
            </p:nvSpPr>
            <p:spPr>
              <a:xfrm>
                <a:off x="-155644" y="2986385"/>
                <a:ext cx="4572000" cy="406265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“Life Cycle Mgmt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dirty="0" smtClean="0">
                    <a:solidFill>
                      <a:srgbClr val="003399"/>
                    </a:solidFill>
                  </a:rPr>
                  <a:t>&amp; Product Support”</a:t>
                </a: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" name="Group 8"/>
          <p:cNvGrpSpPr/>
          <p:nvPr/>
        </p:nvGrpSpPr>
        <p:grpSpPr>
          <a:xfrm>
            <a:off x="-460784" y="4985955"/>
            <a:ext cx="10142682" cy="1700470"/>
            <a:chOff x="-460784" y="4985955"/>
            <a:chExt cx="10142682" cy="1700470"/>
          </a:xfrm>
        </p:grpSpPr>
        <p:grpSp>
          <p:nvGrpSpPr>
            <p:cNvPr id="48" name="Group 47"/>
            <p:cNvGrpSpPr/>
            <p:nvPr/>
          </p:nvGrpSpPr>
          <p:grpSpPr>
            <a:xfrm>
              <a:off x="5109898" y="4985955"/>
              <a:ext cx="4572000" cy="1433753"/>
              <a:chOff x="-155644" y="1958897"/>
              <a:chExt cx="4572000" cy="1433753"/>
            </a:xfrm>
          </p:grpSpPr>
          <p:sp>
            <p:nvSpPr>
              <p:cNvPr id="49" name="8-Point Star 48"/>
              <p:cNvSpPr/>
              <p:nvPr/>
            </p:nvSpPr>
            <p:spPr>
              <a:xfrm>
                <a:off x="1580742" y="1958897"/>
                <a:ext cx="1006813" cy="1070520"/>
              </a:xfrm>
              <a:prstGeom prst="star8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rgbClr val="0033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" name="TextBox 49"/>
              <p:cNvSpPr txBox="1"/>
              <p:nvPr/>
            </p:nvSpPr>
            <p:spPr>
              <a:xfrm>
                <a:off x="1595334" y="2153320"/>
                <a:ext cx="1011677" cy="615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Title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10 U.S.C</a:t>
                </a: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. </a:t>
                </a:r>
                <a:r>
                  <a:rPr kumimoji="0" lang="en-US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§2563</a:t>
                </a: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" name="Rectangle 50"/>
              <p:cNvSpPr/>
              <p:nvPr/>
            </p:nvSpPr>
            <p:spPr>
              <a:xfrm>
                <a:off x="-155644" y="2986385"/>
                <a:ext cx="4572000" cy="406265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“Industrial Facilities’ Sales to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Persons Outside of DoD”</a:t>
                </a: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-460784" y="4985955"/>
              <a:ext cx="4572000" cy="1490673"/>
              <a:chOff x="-155644" y="1901977"/>
              <a:chExt cx="4572000" cy="1490673"/>
            </a:xfrm>
          </p:grpSpPr>
          <p:sp>
            <p:nvSpPr>
              <p:cNvPr id="53" name="8-Point Star 52"/>
              <p:cNvSpPr/>
              <p:nvPr/>
            </p:nvSpPr>
            <p:spPr>
              <a:xfrm>
                <a:off x="1590470" y="1901977"/>
                <a:ext cx="1006813" cy="1070520"/>
              </a:xfrm>
              <a:prstGeom prst="star8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rgbClr val="0033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1595334" y="2153320"/>
                <a:ext cx="1011677" cy="615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Title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10 U.S.C</a:t>
                </a: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. </a:t>
                </a:r>
                <a:r>
                  <a:rPr kumimoji="0" lang="en-US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§2464</a:t>
                </a: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5" name="Rectangle 54"/>
              <p:cNvSpPr/>
              <p:nvPr/>
            </p:nvSpPr>
            <p:spPr>
              <a:xfrm>
                <a:off x="-155644" y="2986385"/>
                <a:ext cx="4572000" cy="406265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“Core Logistics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dirty="0" smtClean="0">
                    <a:solidFill>
                      <a:srgbClr val="003399"/>
                    </a:solidFill>
                  </a:rPr>
                  <a:t>Capabilities</a:t>
                </a: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”</a:t>
                </a: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56" name="Group 55"/>
            <p:cNvGrpSpPr/>
            <p:nvPr/>
          </p:nvGrpSpPr>
          <p:grpSpPr>
            <a:xfrm>
              <a:off x="952303" y="5198750"/>
              <a:ext cx="4572000" cy="1333707"/>
              <a:chOff x="-155644" y="1901977"/>
              <a:chExt cx="4572000" cy="1333707"/>
            </a:xfrm>
          </p:grpSpPr>
          <p:sp>
            <p:nvSpPr>
              <p:cNvPr id="57" name="8-Point Star 56"/>
              <p:cNvSpPr/>
              <p:nvPr/>
            </p:nvSpPr>
            <p:spPr>
              <a:xfrm>
                <a:off x="1590470" y="1901977"/>
                <a:ext cx="1006813" cy="1070520"/>
              </a:xfrm>
              <a:prstGeom prst="star8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rgbClr val="0033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1595334" y="2153320"/>
                <a:ext cx="1011677" cy="615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Title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10 U.S.C</a:t>
                </a: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. </a:t>
                </a:r>
                <a:r>
                  <a:rPr kumimoji="0" lang="en-US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§2466</a:t>
                </a: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9" name="Rectangle 58"/>
              <p:cNvSpPr/>
              <p:nvPr/>
            </p:nvSpPr>
            <p:spPr>
              <a:xfrm>
                <a:off x="-155644" y="2986385"/>
                <a:ext cx="4572000" cy="249299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“50-50 Rule”</a:t>
                </a: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4" name="Group 63"/>
            <p:cNvGrpSpPr/>
            <p:nvPr/>
          </p:nvGrpSpPr>
          <p:grpSpPr>
            <a:xfrm>
              <a:off x="3735874" y="5200318"/>
              <a:ext cx="4572000" cy="1333707"/>
              <a:chOff x="-155644" y="1901977"/>
              <a:chExt cx="4572000" cy="1333707"/>
            </a:xfrm>
          </p:grpSpPr>
          <p:sp>
            <p:nvSpPr>
              <p:cNvPr id="65" name="8-Point Star 64"/>
              <p:cNvSpPr/>
              <p:nvPr/>
            </p:nvSpPr>
            <p:spPr>
              <a:xfrm>
                <a:off x="1590470" y="1901977"/>
                <a:ext cx="1006813" cy="1070520"/>
              </a:xfrm>
              <a:prstGeom prst="star8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rgbClr val="0033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1595334" y="2153320"/>
                <a:ext cx="1011677" cy="615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Title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10 U.S.C</a:t>
                </a: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. </a:t>
                </a:r>
                <a:r>
                  <a:rPr kumimoji="0" lang="en-US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§2469</a:t>
                </a: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7" name="Rectangle 66"/>
              <p:cNvSpPr/>
              <p:nvPr/>
            </p:nvSpPr>
            <p:spPr>
              <a:xfrm>
                <a:off x="-155644" y="2986385"/>
                <a:ext cx="4572000" cy="249299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“$3M Rule”</a:t>
                </a: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00" name="Group 99"/>
            <p:cNvGrpSpPr/>
            <p:nvPr/>
          </p:nvGrpSpPr>
          <p:grpSpPr>
            <a:xfrm>
              <a:off x="2354749" y="5352718"/>
              <a:ext cx="4572000" cy="1333707"/>
              <a:chOff x="-155644" y="1901977"/>
              <a:chExt cx="4572000" cy="1333707"/>
            </a:xfrm>
          </p:grpSpPr>
          <p:sp>
            <p:nvSpPr>
              <p:cNvPr id="101" name="8-Point Star 100"/>
              <p:cNvSpPr/>
              <p:nvPr/>
            </p:nvSpPr>
            <p:spPr>
              <a:xfrm>
                <a:off x="1590470" y="1901977"/>
                <a:ext cx="1006813" cy="1070520"/>
              </a:xfrm>
              <a:prstGeom prst="star8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rgbClr val="00339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2" name="TextBox 101"/>
              <p:cNvSpPr txBox="1"/>
              <p:nvPr/>
            </p:nvSpPr>
            <p:spPr>
              <a:xfrm>
                <a:off x="1595334" y="2153320"/>
                <a:ext cx="1011677" cy="615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Title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10 U.S.C</a:t>
                </a: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. </a:t>
                </a:r>
                <a:r>
                  <a:rPr kumimoji="0" lang="en-US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§2460</a:t>
                </a: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3" name="Rectangle 102"/>
              <p:cNvSpPr/>
              <p:nvPr/>
            </p:nvSpPr>
            <p:spPr>
              <a:xfrm>
                <a:off x="-155644" y="2986385"/>
                <a:ext cx="4572000" cy="249299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“Depot</a:t>
                </a:r>
                <a:r>
                  <a:rPr kumimoji="0" lang="en-US" sz="1200" b="1" i="0" u="none" strike="noStrike" kern="1200" cap="none" spc="0" normalizeH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 </a:t>
                </a:r>
                <a:r>
                  <a:rPr kumimoji="0" lang="en-US" sz="1200" b="1" i="0" u="none" strike="noStrike" kern="1200" cap="none" spc="0" normalizeH="0" noProof="0" dirty="0" err="1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Mainteance</a:t>
                </a: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33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”</a:t>
                </a: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554629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6277" y="81591"/>
            <a:ext cx="7438292" cy="776922"/>
          </a:xfrm>
        </p:spPr>
        <p:txBody>
          <a:bodyPr/>
          <a:lstStyle/>
          <a:p>
            <a:pPr algn="ctr" eaLnBrk="0" fontAlgn="base" hangingPunct="0">
              <a:lnSpc>
                <a:spcPct val="80000"/>
              </a:lnSpc>
              <a:spcAft>
                <a:spcPct val="0"/>
              </a:spcAft>
            </a:pPr>
            <a:r>
              <a:rPr lang="en-US" sz="2800" b="1" i="1" dirty="0">
                <a:solidFill>
                  <a:srgbClr val="000099"/>
                </a:solidFill>
                <a:latin typeface="Arial Narrow" panose="020B0606020202030204" pitchFamily="34" charset="0"/>
              </a:rPr>
              <a:t>DAU Additive Manufacturing</a:t>
            </a:r>
            <a:br>
              <a:rPr lang="en-US" sz="2800" b="1" i="1" dirty="0">
                <a:solidFill>
                  <a:srgbClr val="000099"/>
                </a:solidFill>
                <a:latin typeface="Arial Narrow" panose="020B0606020202030204" pitchFamily="34" charset="0"/>
              </a:rPr>
            </a:br>
            <a:r>
              <a:rPr lang="en-US" sz="2800" b="1" i="1" dirty="0">
                <a:solidFill>
                  <a:srgbClr val="000099"/>
                </a:solidFill>
                <a:latin typeface="Arial Narrow" panose="020B0606020202030204" pitchFamily="34" charset="0"/>
              </a:rPr>
              <a:t>(3D Printing) </a:t>
            </a:r>
            <a:r>
              <a:rPr lang="en-US" sz="2800" b="1" i="1" dirty="0" smtClean="0">
                <a:solidFill>
                  <a:srgbClr val="000099"/>
                </a:solidFill>
                <a:latin typeface="Arial Narrow" panose="020B0606020202030204" pitchFamily="34" charset="0"/>
              </a:rPr>
              <a:t>Learning Assets</a:t>
            </a:r>
            <a:endParaRPr lang="en-US" sz="2800" b="1" i="1" dirty="0">
              <a:solidFill>
                <a:srgbClr val="000099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3677" y="2931221"/>
            <a:ext cx="8097252" cy="5557612"/>
          </a:xfrm>
        </p:spPr>
        <p:txBody>
          <a:bodyPr/>
          <a:lstStyle/>
          <a:p>
            <a:pPr marL="342900" lvl="1" indent="-342900"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</a:pPr>
            <a:r>
              <a:rPr lang="en-US" sz="1400" b="1" dirty="0" smtClean="0"/>
              <a:t>Additive Manufacturing Community of Practice (AM CoP) </a:t>
            </a:r>
            <a:r>
              <a:rPr lang="en-US" sz="140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/>
                <a:hlinkClick r:id="rId3"/>
              </a:rPr>
              <a:t>https://www.dau.mil/cop/am</a:t>
            </a:r>
            <a:r>
              <a:rPr lang="en-US" sz="140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/>
              </a:rPr>
              <a:t> </a:t>
            </a:r>
            <a:endParaRPr lang="en-US" sz="1400" kern="0" dirty="0">
              <a:solidFill>
                <a:schemeClr val="tx1">
                  <a:lumMod val="95000"/>
                  <a:lumOff val="5000"/>
                </a:schemeClr>
              </a:solidFill>
              <a:latin typeface="Arial Narrow"/>
            </a:endParaRPr>
          </a:p>
          <a:p>
            <a:pPr lvl="1">
              <a:spcBef>
                <a:spcPts val="0"/>
              </a:spcBef>
            </a:pPr>
            <a:r>
              <a:rPr lang="en-US" sz="1200" dirty="0"/>
              <a:t>Interdisciplinary focus - logistics, </a:t>
            </a:r>
            <a:r>
              <a:rPr lang="en-US" sz="1200" dirty="0" smtClean="0"/>
              <a:t>manufacturing</a:t>
            </a:r>
            <a:r>
              <a:rPr lang="en-US" sz="1200" dirty="0"/>
              <a:t>, engineering, acquisition law</a:t>
            </a:r>
          </a:p>
          <a:p>
            <a:pPr marL="342900" lvl="1" indent="-342900"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</a:pPr>
            <a:r>
              <a:rPr lang="en-US" sz="1400" b="1" dirty="0"/>
              <a:t>Twenty-six Additive Manufacturing training video vignettes in DAU Video Library </a:t>
            </a:r>
            <a:r>
              <a:rPr lang="en-US" sz="14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/>
                <a:hlinkClick r:id="rId4"/>
              </a:rPr>
              <a:t>https://media.dau.mil/channel/Life%2BCycle%2BLogistics/62958791</a:t>
            </a:r>
            <a:endParaRPr lang="en-US" sz="1400" kern="0" dirty="0">
              <a:solidFill>
                <a:schemeClr val="tx1">
                  <a:lumMod val="95000"/>
                  <a:lumOff val="5000"/>
                </a:schemeClr>
              </a:solidFill>
              <a:latin typeface="Arial Narrow"/>
            </a:endParaRPr>
          </a:p>
          <a:p>
            <a:pPr marL="342900" lvl="1" indent="-342900"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</a:pPr>
            <a:r>
              <a:rPr lang="en-US" sz="1400" b="1" dirty="0" smtClean="0"/>
              <a:t>Additive </a:t>
            </a:r>
            <a:r>
              <a:rPr lang="en-US" sz="1400" b="1" dirty="0"/>
              <a:t>Manufacturing ACQuipedia Article </a:t>
            </a:r>
            <a:r>
              <a:rPr lang="en-US" sz="14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/>
                <a:hlinkClick r:id="rId5"/>
              </a:rPr>
              <a:t>https://</a:t>
            </a:r>
            <a:r>
              <a:rPr lang="en-US" sz="140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/>
                <a:hlinkClick r:id="rId5"/>
              </a:rPr>
              <a:t>shortcut.dau.mil/acq/am</a:t>
            </a:r>
            <a:r>
              <a:rPr lang="en-US" sz="140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/>
              </a:rPr>
              <a:t>  </a:t>
            </a:r>
            <a:endParaRPr lang="en-US" sz="1400" kern="0" dirty="0">
              <a:solidFill>
                <a:schemeClr val="tx1">
                  <a:lumMod val="95000"/>
                  <a:lumOff val="5000"/>
                </a:schemeClr>
              </a:solidFill>
              <a:latin typeface="Arial Narrow"/>
            </a:endParaRPr>
          </a:p>
          <a:p>
            <a:pPr marL="342900" lvl="1" indent="-342900"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</a:pPr>
            <a:r>
              <a:rPr lang="en-US" sz="1400" b="1" dirty="0" smtClean="0"/>
              <a:t>Special AM-focused Nov-Dec 2016 Defense </a:t>
            </a:r>
            <a:r>
              <a:rPr lang="en-US" sz="1400" b="1" dirty="0"/>
              <a:t>AT&amp;L </a:t>
            </a:r>
            <a:r>
              <a:rPr lang="en-US" sz="1400" b="1" dirty="0" smtClean="0"/>
              <a:t>Magazine                     </a:t>
            </a:r>
            <a:r>
              <a:rPr lang="en-US" sz="1400" u="sng" kern="0" dirty="0" smtClean="0">
                <a:solidFill>
                  <a:srgbClr val="0000FF"/>
                </a:solidFill>
                <a:latin typeface="Arial Narrow"/>
                <a:hlinkClick r:id="rId6"/>
              </a:rPr>
              <a:t>https</a:t>
            </a:r>
            <a:r>
              <a:rPr lang="en-US" sz="1400" u="sng" kern="0" dirty="0">
                <a:solidFill>
                  <a:srgbClr val="0000FF"/>
                </a:solidFill>
                <a:latin typeface="Arial Narrow"/>
                <a:hlinkClick r:id="rId6"/>
              </a:rPr>
              <a:t>://</a:t>
            </a:r>
            <a:r>
              <a:rPr lang="en-US" sz="1400" u="sng" kern="0" dirty="0" smtClean="0">
                <a:solidFill>
                  <a:srgbClr val="0000FF"/>
                </a:solidFill>
                <a:latin typeface="Arial Narrow"/>
                <a:hlinkClick r:id="rId6"/>
              </a:rPr>
              <a:t>www.dau.mil/library/defense-atl/p/Previous-Issues</a:t>
            </a:r>
            <a:endParaRPr lang="en-US" sz="1400" u="sng" kern="0" dirty="0" smtClean="0">
              <a:solidFill>
                <a:srgbClr val="0000FF"/>
              </a:solidFill>
              <a:latin typeface="Arial Narrow"/>
            </a:endParaRPr>
          </a:p>
          <a:p>
            <a:pPr marL="342900" lvl="1" indent="-342900"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</a:pPr>
            <a:r>
              <a:rPr lang="en-US" sz="1400" b="1" dirty="0" smtClean="0"/>
              <a:t>Dec 2017 AM </a:t>
            </a:r>
            <a:r>
              <a:rPr lang="en-US" sz="1400" b="1" dirty="0"/>
              <a:t>Lunch &amp; </a:t>
            </a:r>
            <a:r>
              <a:rPr lang="en-US" sz="1400" b="1" dirty="0" smtClean="0"/>
              <a:t>Learn                                                              </a:t>
            </a:r>
            <a:r>
              <a:rPr lang="en-US" sz="1400" u="sng" kern="0" dirty="0" smtClean="0">
                <a:solidFill>
                  <a:srgbClr val="0000FF"/>
                </a:solidFill>
                <a:latin typeface="Arial Narrow"/>
                <a:hlinkClick r:id="rId7"/>
              </a:rPr>
              <a:t>https</a:t>
            </a:r>
            <a:r>
              <a:rPr lang="en-US" sz="1400" u="sng" kern="0" dirty="0">
                <a:solidFill>
                  <a:srgbClr val="0000FF"/>
                </a:solidFill>
                <a:latin typeface="Arial Narrow"/>
                <a:hlinkClick r:id="rId7"/>
              </a:rPr>
              <a:t>://www.dau.mil/events/Lunch-and-Learn---</a:t>
            </a:r>
            <a:r>
              <a:rPr lang="en-US" sz="1400" u="sng" kern="0" dirty="0" smtClean="0">
                <a:solidFill>
                  <a:srgbClr val="0000FF"/>
                </a:solidFill>
                <a:latin typeface="Arial Narrow"/>
                <a:hlinkClick r:id="rId7"/>
              </a:rPr>
              <a:t>Additive-Manufacturing-using-3-D-Printing-</a:t>
            </a:r>
            <a:endParaRPr lang="en-US" sz="1400" u="sng" kern="0" dirty="0" smtClean="0">
              <a:solidFill>
                <a:srgbClr val="0000FF"/>
              </a:solidFill>
              <a:latin typeface="Arial Narrow"/>
            </a:endParaRPr>
          </a:p>
          <a:p>
            <a:pPr marL="342900" lvl="1" indent="-342900"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</a:pPr>
            <a:r>
              <a:rPr lang="en-US" sz="1400" b="1" dirty="0" smtClean="0"/>
              <a:t>PMT 401 </a:t>
            </a:r>
            <a:r>
              <a:rPr lang="en-US" sz="1400" b="1" dirty="0"/>
              <a:t>“</a:t>
            </a:r>
            <a:r>
              <a:rPr lang="en-US" sz="1400" b="1" dirty="0" smtClean="0"/>
              <a:t>Hitting Print” Additive Manufacturing Case Study</a:t>
            </a:r>
          </a:p>
          <a:p>
            <a:pPr marL="342900" lvl="1" indent="-342900"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</a:pPr>
            <a:r>
              <a:rPr lang="en-US" sz="1400" b="1" dirty="0" smtClean="0"/>
              <a:t>Supporting Development of New DoD Additive Manufacturing Contracting Guide</a:t>
            </a:r>
          </a:p>
          <a:p>
            <a:pPr marL="342900" lvl="1" indent="-342900"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</a:pPr>
            <a:r>
              <a:rPr lang="en-US" sz="1400" b="1" dirty="0" smtClean="0"/>
              <a:t>3 Apr 2018 DAU </a:t>
            </a:r>
            <a:r>
              <a:rPr lang="en-US" sz="1400" b="1" dirty="0"/>
              <a:t>Acquisition Training Symposium </a:t>
            </a:r>
            <a:r>
              <a:rPr lang="en-US" sz="1400" b="1" dirty="0" smtClean="0"/>
              <a:t>(Ft </a:t>
            </a:r>
            <a:r>
              <a:rPr lang="en-US" sz="1400" b="1" dirty="0"/>
              <a:t>Belvoir VA) - "Additive Manufacturing </a:t>
            </a:r>
            <a:r>
              <a:rPr lang="en-US" sz="1400" b="1" dirty="0" smtClean="0"/>
              <a:t>- </a:t>
            </a:r>
            <a:r>
              <a:rPr lang="en-US" sz="1400" b="1" dirty="0"/>
              <a:t>DLA Works to Integrate Digital Manufacturing into Defense Acquisition"</a:t>
            </a:r>
          </a:p>
          <a:p>
            <a:pPr marL="342900" lvl="1" indent="-3429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endParaRPr lang="en-US" sz="1600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772611">
            <a:off x="6779979" y="1249881"/>
            <a:ext cx="1086557" cy="1455041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41417" y="1246228"/>
            <a:ext cx="1149196" cy="155966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67832" y="1222517"/>
            <a:ext cx="2325268" cy="154896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447902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2511425" y="1097020"/>
            <a:ext cx="1404938" cy="555625"/>
          </a:xfrm>
          <a:prstGeom prst="rect">
            <a:avLst/>
          </a:prstGeom>
          <a:gradFill rotWithShape="1">
            <a:gsLst>
              <a:gs pos="0">
                <a:srgbClr val="FFCC66"/>
              </a:gs>
              <a:gs pos="50000">
                <a:srgbClr val="FFFFCC"/>
              </a:gs>
              <a:gs pos="100000">
                <a:srgbClr val="FFCC66"/>
              </a:gs>
            </a:gsLst>
            <a:lin ang="5400000" scaled="1"/>
          </a:gra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rgbClr val="003399"/>
              </a:buClr>
              <a:buFont typeface="Times New Roman" pitchFamily="18" charset="0"/>
              <a:buNone/>
            </a:pPr>
            <a:endParaRPr lang="en-US" sz="1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auto">
          <a:xfrm>
            <a:off x="2509838" y="1501832"/>
            <a:ext cx="1404937" cy="555625"/>
          </a:xfrm>
          <a:prstGeom prst="rect">
            <a:avLst/>
          </a:prstGeom>
          <a:gradFill rotWithShape="1">
            <a:gsLst>
              <a:gs pos="0">
                <a:srgbClr val="FFCC66"/>
              </a:gs>
              <a:gs pos="50000">
                <a:srgbClr val="FFFFCC"/>
              </a:gs>
              <a:gs pos="100000">
                <a:srgbClr val="FFCC66"/>
              </a:gs>
            </a:gsLst>
            <a:lin ang="5400000" scaled="1"/>
          </a:gra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rgbClr val="003399"/>
              </a:buClr>
              <a:buFont typeface="Times New Roman" pitchFamily="18" charset="0"/>
              <a:buNone/>
            </a:pPr>
            <a:endParaRPr lang="en-US" sz="1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2508250" y="1881245"/>
            <a:ext cx="1404938" cy="555625"/>
          </a:xfrm>
          <a:prstGeom prst="rect">
            <a:avLst/>
          </a:prstGeom>
          <a:gradFill rotWithShape="1">
            <a:gsLst>
              <a:gs pos="0">
                <a:srgbClr val="FFCC66"/>
              </a:gs>
              <a:gs pos="50000">
                <a:srgbClr val="FFFFCC"/>
              </a:gs>
              <a:gs pos="100000">
                <a:srgbClr val="FFCC66"/>
              </a:gs>
            </a:gsLst>
            <a:lin ang="5400000" scaled="1"/>
          </a:gra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rgbClr val="003399"/>
              </a:buClr>
              <a:buFont typeface="Times New Roman" pitchFamily="18" charset="0"/>
              <a:buNone/>
            </a:pPr>
            <a:endParaRPr lang="en-US" sz="1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2508250" y="2287645"/>
            <a:ext cx="1404938" cy="555625"/>
          </a:xfrm>
          <a:prstGeom prst="rect">
            <a:avLst/>
          </a:prstGeom>
          <a:gradFill rotWithShape="1">
            <a:gsLst>
              <a:gs pos="0">
                <a:srgbClr val="FFCC66"/>
              </a:gs>
              <a:gs pos="50000">
                <a:srgbClr val="FFFFCC"/>
              </a:gs>
              <a:gs pos="100000">
                <a:srgbClr val="FFCC66"/>
              </a:gs>
            </a:gsLst>
            <a:lin ang="5400000" scaled="1"/>
          </a:gra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rgbClr val="003399"/>
              </a:buClr>
              <a:buFont typeface="Times New Roman" pitchFamily="18" charset="0"/>
              <a:buNone/>
            </a:pPr>
            <a:endParaRPr lang="en-US" sz="1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2509838" y="6259570"/>
            <a:ext cx="1404937" cy="555625"/>
          </a:xfrm>
          <a:prstGeom prst="rect">
            <a:avLst/>
          </a:prstGeom>
          <a:gradFill rotWithShape="1">
            <a:gsLst>
              <a:gs pos="0">
                <a:srgbClr val="FFCC66"/>
              </a:gs>
              <a:gs pos="50000">
                <a:srgbClr val="FFFFCC"/>
              </a:gs>
              <a:gs pos="100000">
                <a:srgbClr val="FFCC66"/>
              </a:gs>
            </a:gsLst>
            <a:lin ang="5400000" scaled="1"/>
          </a:gra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rgbClr val="003399"/>
              </a:buClr>
              <a:buFont typeface="Times New Roman" pitchFamily="18" charset="0"/>
              <a:buNone/>
            </a:pPr>
            <a:endParaRPr lang="en-US" sz="1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2508250" y="5838882"/>
            <a:ext cx="1404938" cy="555625"/>
          </a:xfrm>
          <a:prstGeom prst="rect">
            <a:avLst/>
          </a:prstGeom>
          <a:gradFill rotWithShape="1">
            <a:gsLst>
              <a:gs pos="0">
                <a:srgbClr val="FFCC66"/>
              </a:gs>
              <a:gs pos="50000">
                <a:srgbClr val="FFFFCC"/>
              </a:gs>
              <a:gs pos="100000">
                <a:srgbClr val="FFCC66"/>
              </a:gs>
            </a:gsLst>
            <a:lin ang="5400000" scaled="1"/>
          </a:gra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rgbClr val="003399"/>
              </a:buClr>
              <a:buFont typeface="Times New Roman" pitchFamily="18" charset="0"/>
              <a:buNone/>
            </a:pPr>
            <a:endParaRPr lang="en-US" sz="1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2506663" y="2692457"/>
            <a:ext cx="1404937" cy="555625"/>
          </a:xfrm>
          <a:prstGeom prst="rect">
            <a:avLst/>
          </a:prstGeom>
          <a:gradFill rotWithShape="1">
            <a:gsLst>
              <a:gs pos="0">
                <a:srgbClr val="FFCC66"/>
              </a:gs>
              <a:gs pos="50000">
                <a:srgbClr val="FFFFCC"/>
              </a:gs>
              <a:gs pos="100000">
                <a:srgbClr val="FFCC66"/>
              </a:gs>
            </a:gsLst>
            <a:lin ang="5400000" scaled="1"/>
          </a:gra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rgbClr val="003399"/>
              </a:buClr>
              <a:buFont typeface="Times New Roman" pitchFamily="18" charset="0"/>
              <a:buNone/>
            </a:pPr>
            <a:endParaRPr lang="en-US" sz="1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2506663" y="3108382"/>
            <a:ext cx="1404937" cy="554038"/>
          </a:xfrm>
          <a:prstGeom prst="rect">
            <a:avLst/>
          </a:prstGeom>
          <a:gradFill rotWithShape="1">
            <a:gsLst>
              <a:gs pos="0">
                <a:srgbClr val="FFCC66"/>
              </a:gs>
              <a:gs pos="50000">
                <a:srgbClr val="FFFFCC"/>
              </a:gs>
              <a:gs pos="100000">
                <a:srgbClr val="FFCC66"/>
              </a:gs>
            </a:gsLst>
            <a:lin ang="5400000" scaled="1"/>
          </a:gra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rgbClr val="003399"/>
              </a:buClr>
              <a:buFont typeface="Times New Roman" pitchFamily="18" charset="0"/>
              <a:buNone/>
            </a:pPr>
            <a:endParaRPr lang="en-US" sz="1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2506663" y="3510020"/>
            <a:ext cx="1404937" cy="557212"/>
          </a:xfrm>
          <a:prstGeom prst="rect">
            <a:avLst/>
          </a:prstGeom>
          <a:gradFill rotWithShape="1">
            <a:gsLst>
              <a:gs pos="0">
                <a:srgbClr val="FFCC66"/>
              </a:gs>
              <a:gs pos="50000">
                <a:srgbClr val="FFFFCC"/>
              </a:gs>
              <a:gs pos="100000">
                <a:srgbClr val="FFCC66"/>
              </a:gs>
            </a:gsLst>
            <a:lin ang="5400000" scaled="1"/>
          </a:gra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rgbClr val="003399"/>
              </a:buClr>
              <a:buFont typeface="Times New Roman" pitchFamily="18" charset="0"/>
              <a:buNone/>
            </a:pPr>
            <a:endParaRPr lang="en-US" sz="1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4" name="Text Box 13"/>
          <p:cNvSpPr txBox="1">
            <a:spLocks noChangeArrowheads="1"/>
          </p:cNvSpPr>
          <p:nvPr/>
        </p:nvSpPr>
        <p:spPr bwMode="auto">
          <a:xfrm>
            <a:off x="2533650" y="1094233"/>
            <a:ext cx="1376363" cy="458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buClr>
                <a:srgbClr val="003399"/>
              </a:buClr>
              <a:buFont typeface="Times New Roman" pitchFamily="18" charset="0"/>
              <a:buNone/>
              <a:defRPr/>
            </a:pPr>
            <a:r>
              <a:rPr lang="en-US" sz="1400" dirty="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Property </a:t>
            </a:r>
            <a:r>
              <a:rPr lang="en-US" sz="1400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Management</a:t>
            </a:r>
            <a:endParaRPr lang="en-US" sz="1400" dirty="0">
              <a:solidFill>
                <a:srgbClr val="CC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15" name="Text Box 16"/>
          <p:cNvSpPr txBox="1">
            <a:spLocks noChangeArrowheads="1"/>
          </p:cNvSpPr>
          <p:nvPr/>
        </p:nvSpPr>
        <p:spPr bwMode="auto">
          <a:xfrm>
            <a:off x="2557463" y="2254466"/>
            <a:ext cx="1381125" cy="458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buClr>
                <a:srgbClr val="003399"/>
              </a:buClr>
              <a:buFont typeface="Times New Roman" pitchFamily="18" charset="0"/>
              <a:buNone/>
              <a:defRPr/>
            </a:pPr>
            <a:r>
              <a:rPr lang="en-US" sz="1400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Program</a:t>
            </a:r>
            <a:r>
              <a:rPr lang="en-US" sz="1400" dirty="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 </a:t>
            </a:r>
            <a:r>
              <a:rPr lang="en-US" sz="1400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Management</a:t>
            </a:r>
          </a:p>
        </p:txBody>
      </p:sp>
      <p:sp>
        <p:nvSpPr>
          <p:cNvPr id="16" name="Text Box 17"/>
          <p:cNvSpPr txBox="1">
            <a:spLocks noChangeArrowheads="1"/>
          </p:cNvSpPr>
          <p:nvPr/>
        </p:nvSpPr>
        <p:spPr bwMode="auto">
          <a:xfrm>
            <a:off x="2568963" y="1933050"/>
            <a:ext cx="137001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buClr>
                <a:srgbClr val="003399"/>
              </a:buClr>
              <a:buFont typeface="Times New Roman" pitchFamily="18" charset="0"/>
              <a:buNone/>
              <a:defRPr/>
            </a:pPr>
            <a:r>
              <a:rPr lang="en-US" sz="1400" dirty="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Contracting</a:t>
            </a:r>
          </a:p>
        </p:txBody>
      </p:sp>
      <p:sp>
        <p:nvSpPr>
          <p:cNvPr id="17" name="Rectangle 10"/>
          <p:cNvSpPr>
            <a:spLocks noChangeArrowheads="1"/>
          </p:cNvSpPr>
          <p:nvPr/>
        </p:nvSpPr>
        <p:spPr bwMode="auto">
          <a:xfrm>
            <a:off x="2506663" y="3924357"/>
            <a:ext cx="1404937" cy="555625"/>
          </a:xfrm>
          <a:prstGeom prst="rect">
            <a:avLst/>
          </a:prstGeom>
          <a:gradFill rotWithShape="1">
            <a:gsLst>
              <a:gs pos="0">
                <a:srgbClr val="FFCC66"/>
              </a:gs>
              <a:gs pos="50000">
                <a:srgbClr val="FFFFCC"/>
              </a:gs>
              <a:gs pos="100000">
                <a:srgbClr val="FFCC66"/>
              </a:gs>
            </a:gsLst>
            <a:lin ang="5400000" scaled="1"/>
          </a:gra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rgbClr val="003399"/>
              </a:buClr>
              <a:buFont typeface="Times New Roman" pitchFamily="18" charset="0"/>
              <a:buNone/>
            </a:pPr>
            <a:endParaRPr lang="en-US" sz="1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8" name="Rectangle 11"/>
          <p:cNvSpPr>
            <a:spLocks noChangeArrowheads="1"/>
          </p:cNvSpPr>
          <p:nvPr/>
        </p:nvSpPr>
        <p:spPr bwMode="auto">
          <a:xfrm>
            <a:off x="2506663" y="5418195"/>
            <a:ext cx="1404937" cy="555625"/>
          </a:xfrm>
          <a:prstGeom prst="rect">
            <a:avLst/>
          </a:prstGeom>
          <a:gradFill rotWithShape="1">
            <a:gsLst>
              <a:gs pos="0">
                <a:srgbClr val="FFCC66"/>
              </a:gs>
              <a:gs pos="50000">
                <a:srgbClr val="FFFFCC"/>
              </a:gs>
              <a:gs pos="100000">
                <a:srgbClr val="FFCC66"/>
              </a:gs>
            </a:gsLst>
            <a:lin ang="5400000" scaled="1"/>
          </a:gra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rgbClr val="003399"/>
              </a:buClr>
              <a:buFont typeface="Times New Roman" pitchFamily="18" charset="0"/>
              <a:buNone/>
            </a:pPr>
            <a:endParaRPr lang="en-US" sz="1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9" name="Rectangle 12"/>
          <p:cNvSpPr>
            <a:spLocks noChangeArrowheads="1"/>
          </p:cNvSpPr>
          <p:nvPr/>
        </p:nvSpPr>
        <p:spPr bwMode="auto">
          <a:xfrm>
            <a:off x="2506663" y="5003857"/>
            <a:ext cx="1404937" cy="554038"/>
          </a:xfrm>
          <a:prstGeom prst="rect">
            <a:avLst/>
          </a:prstGeom>
          <a:gradFill rotWithShape="1">
            <a:gsLst>
              <a:gs pos="0">
                <a:srgbClr val="FFCC66"/>
              </a:gs>
              <a:gs pos="50000">
                <a:srgbClr val="FFFFCC"/>
              </a:gs>
              <a:gs pos="100000">
                <a:srgbClr val="FFCC66"/>
              </a:gs>
            </a:gsLst>
            <a:lin ang="5400000" scaled="1"/>
          </a:gra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rgbClr val="003399"/>
              </a:buClr>
              <a:buFont typeface="Times New Roman" pitchFamily="18" charset="0"/>
              <a:buNone/>
            </a:pPr>
            <a:endParaRPr lang="en-US" sz="1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0" name="Text Box 14"/>
          <p:cNvSpPr txBox="1">
            <a:spLocks noChangeArrowheads="1"/>
          </p:cNvSpPr>
          <p:nvPr/>
        </p:nvSpPr>
        <p:spPr bwMode="auto">
          <a:xfrm>
            <a:off x="2566988" y="3096652"/>
            <a:ext cx="1387475" cy="458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buClr>
                <a:srgbClr val="003399"/>
              </a:buClr>
              <a:buFont typeface="Times New Roman" pitchFamily="18" charset="0"/>
              <a:buNone/>
              <a:defRPr/>
            </a:pPr>
            <a:r>
              <a:rPr lang="en-US" sz="1400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Financial Management</a:t>
            </a:r>
            <a:endParaRPr lang="en-US" sz="1400" dirty="0">
              <a:solidFill>
                <a:srgbClr val="CC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21" name="Text Box 15"/>
          <p:cNvSpPr txBox="1">
            <a:spLocks noChangeArrowheads="1"/>
          </p:cNvSpPr>
          <p:nvPr/>
        </p:nvSpPr>
        <p:spPr bwMode="auto">
          <a:xfrm>
            <a:off x="2522538" y="3484196"/>
            <a:ext cx="1392237" cy="458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buClr>
                <a:srgbClr val="003399"/>
              </a:buClr>
              <a:buFont typeface="Times New Roman" pitchFamily="18" charset="0"/>
              <a:buNone/>
              <a:defRPr/>
            </a:pPr>
            <a:r>
              <a:rPr lang="en-US" sz="1400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Science &amp; Technology</a:t>
            </a:r>
            <a:endParaRPr lang="en-US" sz="1400" dirty="0">
              <a:solidFill>
                <a:srgbClr val="CC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22" name="Rectangle 20"/>
          <p:cNvSpPr>
            <a:spLocks noChangeArrowheads="1"/>
          </p:cNvSpPr>
          <p:nvPr/>
        </p:nvSpPr>
        <p:spPr bwMode="auto">
          <a:xfrm>
            <a:off x="2514600" y="5149096"/>
            <a:ext cx="1389063" cy="458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rgbClr val="003399"/>
              </a:buClr>
              <a:buFont typeface="Times New Roman" pitchFamily="18" charset="0"/>
              <a:buNone/>
              <a:defRPr/>
            </a:pPr>
            <a:r>
              <a:rPr lang="en-US" sz="1400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Test &amp; Evaluation</a:t>
            </a:r>
            <a:endParaRPr lang="en-US" sz="1400" dirty="0">
              <a:solidFill>
                <a:srgbClr val="CC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</p:txBody>
      </p:sp>
      <p:grpSp>
        <p:nvGrpSpPr>
          <p:cNvPr id="23" name="Group 41"/>
          <p:cNvGrpSpPr>
            <a:grpSpLocks/>
          </p:cNvGrpSpPr>
          <p:nvPr/>
        </p:nvGrpSpPr>
        <p:grpSpPr bwMode="auto">
          <a:xfrm>
            <a:off x="2503425" y="4322241"/>
            <a:ext cx="5640450" cy="806273"/>
            <a:chOff x="2458707" y="2515226"/>
            <a:chExt cx="5640388" cy="806488"/>
          </a:xfrm>
        </p:grpSpPr>
        <p:sp>
          <p:nvSpPr>
            <p:cNvPr id="24" name="Rectangle 21"/>
            <p:cNvSpPr>
              <a:spLocks noChangeArrowheads="1"/>
            </p:cNvSpPr>
            <p:nvPr/>
          </p:nvSpPr>
          <p:spPr bwMode="auto">
            <a:xfrm>
              <a:off x="5286045" y="2515226"/>
              <a:ext cx="1406525" cy="806488"/>
            </a:xfrm>
            <a:prstGeom prst="rect">
              <a:avLst/>
            </a:prstGeom>
            <a:gradFill rotWithShape="1">
              <a:gsLst>
                <a:gs pos="0">
                  <a:srgbClr val="FF3300"/>
                </a:gs>
                <a:gs pos="50000">
                  <a:srgbClr val="FFFFCC"/>
                </a:gs>
                <a:gs pos="100000">
                  <a:srgbClr val="FF3300"/>
                </a:gs>
              </a:gsLst>
              <a:lin ang="5400000" scaled="1"/>
            </a:gra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20000"/>
                </a:spcBef>
                <a:buClr>
                  <a:srgbClr val="003399"/>
                </a:buClr>
                <a:buFont typeface="Times New Roman" pitchFamily="18" charset="0"/>
                <a:buNone/>
              </a:pPr>
              <a:endParaRPr lang="en-US" sz="1400" dirty="0">
                <a:solidFill>
                  <a:srgbClr val="000000"/>
                </a:solidFill>
                <a:latin typeface="Times New Roman" pitchFamily="18" charset="0"/>
              </a:endParaRPr>
            </a:p>
          </p:txBody>
        </p:sp>
        <p:sp>
          <p:nvSpPr>
            <p:cNvPr id="25" name="Text Box 22"/>
            <p:cNvSpPr txBox="1">
              <a:spLocks noChangeArrowheads="1"/>
            </p:cNvSpPr>
            <p:nvPr/>
          </p:nvSpPr>
          <p:spPr bwMode="auto">
            <a:xfrm>
              <a:off x="5305126" y="2663480"/>
              <a:ext cx="1379523" cy="517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  <a:buClr>
                  <a:srgbClr val="003399"/>
                </a:buClr>
                <a:buFont typeface="Times New Roman" pitchFamily="18" charset="0"/>
                <a:buNone/>
                <a:defRPr/>
              </a:pPr>
              <a:r>
                <a:rPr lang="en-US" sz="1400" dirty="0">
                  <a:solidFill>
                    <a:srgbClr val="0000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Times New Roman" pitchFamily="18" charset="0"/>
                </a:rPr>
                <a:t>Supply Management</a:t>
              </a:r>
            </a:p>
          </p:txBody>
        </p:sp>
        <p:sp>
          <p:nvSpPr>
            <p:cNvPr id="26" name="Rectangle 23"/>
            <p:cNvSpPr>
              <a:spLocks noChangeArrowheads="1"/>
            </p:cNvSpPr>
            <p:nvPr/>
          </p:nvSpPr>
          <p:spPr bwMode="auto">
            <a:xfrm>
              <a:off x="6692570" y="2515226"/>
              <a:ext cx="1406525" cy="806488"/>
            </a:xfrm>
            <a:prstGeom prst="rect">
              <a:avLst/>
            </a:prstGeom>
            <a:gradFill rotWithShape="1">
              <a:gsLst>
                <a:gs pos="0">
                  <a:srgbClr val="FF3300"/>
                </a:gs>
                <a:gs pos="50000">
                  <a:srgbClr val="FFFFCC"/>
                </a:gs>
                <a:gs pos="100000">
                  <a:srgbClr val="FF3300"/>
                </a:gs>
              </a:gsLst>
              <a:lin ang="5400000" scaled="1"/>
            </a:gra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20000"/>
                </a:spcBef>
                <a:buClr>
                  <a:srgbClr val="003399"/>
                </a:buClr>
                <a:buFont typeface="Times New Roman" pitchFamily="18" charset="0"/>
                <a:buNone/>
              </a:pPr>
              <a:endParaRPr lang="en-US" sz="1400" dirty="0">
                <a:solidFill>
                  <a:srgbClr val="000000"/>
                </a:solidFill>
                <a:latin typeface="Times New Roman" pitchFamily="18" charset="0"/>
              </a:endParaRPr>
            </a:p>
          </p:txBody>
        </p:sp>
        <p:sp>
          <p:nvSpPr>
            <p:cNvPr id="27" name="Text Box 24"/>
            <p:cNvSpPr txBox="1">
              <a:spLocks noChangeArrowheads="1"/>
            </p:cNvSpPr>
            <p:nvPr/>
          </p:nvSpPr>
          <p:spPr bwMode="auto">
            <a:xfrm>
              <a:off x="6692585" y="2663480"/>
              <a:ext cx="1398573" cy="517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  <a:buClr>
                  <a:srgbClr val="003399"/>
                </a:buClr>
                <a:buFont typeface="Times New Roman" pitchFamily="18" charset="0"/>
                <a:buNone/>
                <a:defRPr/>
              </a:pPr>
              <a:r>
                <a:rPr lang="en-US" sz="1400" dirty="0">
                  <a:solidFill>
                    <a:srgbClr val="0000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Times New Roman" pitchFamily="18" charset="0"/>
                </a:rPr>
                <a:t>Maintenance Support</a:t>
              </a:r>
            </a:p>
          </p:txBody>
        </p:sp>
        <p:grpSp>
          <p:nvGrpSpPr>
            <p:cNvPr id="28" name="Group 41"/>
            <p:cNvGrpSpPr>
              <a:grpSpLocks/>
            </p:cNvGrpSpPr>
            <p:nvPr/>
          </p:nvGrpSpPr>
          <p:grpSpPr bwMode="auto">
            <a:xfrm>
              <a:off x="3869995" y="2515226"/>
              <a:ext cx="1416050" cy="806488"/>
              <a:chOff x="359" y="2069"/>
              <a:chExt cx="892" cy="526"/>
            </a:xfrm>
          </p:grpSpPr>
          <p:sp>
            <p:nvSpPr>
              <p:cNvPr id="31" name="Rectangle 25"/>
              <p:cNvSpPr>
                <a:spLocks noChangeArrowheads="1"/>
              </p:cNvSpPr>
              <p:nvPr/>
            </p:nvSpPr>
            <p:spPr bwMode="auto">
              <a:xfrm>
                <a:off x="360" y="2069"/>
                <a:ext cx="886" cy="526"/>
              </a:xfrm>
              <a:prstGeom prst="rect">
                <a:avLst/>
              </a:prstGeom>
              <a:gradFill rotWithShape="1">
                <a:gsLst>
                  <a:gs pos="0">
                    <a:srgbClr val="FF3300"/>
                  </a:gs>
                  <a:gs pos="50000">
                    <a:srgbClr val="FFFFCC"/>
                  </a:gs>
                  <a:gs pos="100000">
                    <a:srgbClr val="FF3300"/>
                  </a:gs>
                </a:gsLst>
                <a:lin ang="5400000" scaled="1"/>
              </a:gradFill>
              <a:ln w="254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spcBef>
                    <a:spcPct val="20000"/>
                  </a:spcBef>
                  <a:buClr>
                    <a:srgbClr val="003399"/>
                  </a:buClr>
                  <a:buFont typeface="Times New Roman" pitchFamily="18" charset="0"/>
                  <a:buNone/>
                </a:pPr>
                <a:endParaRPr lang="en-US" sz="1400" dirty="0">
                  <a:solidFill>
                    <a:srgbClr val="000000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32" name="Text Box 26"/>
              <p:cNvSpPr txBox="1">
                <a:spLocks noChangeArrowheads="1"/>
              </p:cNvSpPr>
              <p:nvPr/>
            </p:nvSpPr>
            <p:spPr bwMode="auto">
              <a:xfrm>
                <a:off x="359" y="2165"/>
                <a:ext cx="892" cy="2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  <a:buClr>
                    <a:srgbClr val="003399"/>
                  </a:buClr>
                  <a:buFont typeface="Times New Roman" pitchFamily="18" charset="0"/>
                  <a:buNone/>
                  <a:defRPr/>
                </a:pPr>
                <a:r>
                  <a:rPr lang="en-US" sz="1400" dirty="0" smtClean="0">
                    <a:solidFill>
                      <a:srgbClr val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Times New Roman" pitchFamily="18" charset="0"/>
                  </a:rPr>
                  <a:t>Distribution</a:t>
                </a:r>
                <a:r>
                  <a:rPr lang="en-US" sz="1400" dirty="0">
                    <a:solidFill>
                      <a:srgbClr val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Times New Roman" pitchFamily="18" charset="0"/>
                  </a:rPr>
                  <a:t> </a:t>
                </a:r>
                <a:r>
                  <a:rPr lang="en-US" sz="1400" dirty="0" smtClean="0">
                    <a:solidFill>
                      <a:srgbClr val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Times New Roman" pitchFamily="18" charset="0"/>
                  </a:rPr>
                  <a:t>&amp;  </a:t>
                </a:r>
                <a:r>
                  <a:rPr lang="en-US" sz="1400" dirty="0">
                    <a:solidFill>
                      <a:srgbClr val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Times New Roman" pitchFamily="18" charset="0"/>
                  </a:rPr>
                  <a:t>Transportation</a:t>
                </a:r>
              </a:p>
            </p:txBody>
          </p:sp>
        </p:grpSp>
        <p:sp>
          <p:nvSpPr>
            <p:cNvPr id="29" name="Rectangle 18"/>
            <p:cNvSpPr>
              <a:spLocks noChangeArrowheads="1"/>
            </p:cNvSpPr>
            <p:nvPr/>
          </p:nvSpPr>
          <p:spPr bwMode="auto">
            <a:xfrm>
              <a:off x="2458707" y="2515226"/>
              <a:ext cx="1404938" cy="806488"/>
            </a:xfrm>
            <a:prstGeom prst="rect">
              <a:avLst/>
            </a:prstGeom>
            <a:gradFill flip="none" rotWithShape="1">
              <a:gsLst>
                <a:gs pos="100000">
                  <a:srgbClr val="FFE885"/>
                </a:gs>
                <a:gs pos="1000">
                  <a:srgbClr val="FF8989"/>
                </a:gs>
              </a:gsLst>
              <a:path path="circle">
                <a:fillToRect l="100000" t="100000"/>
              </a:path>
              <a:tileRect r="-100000" b="-100000"/>
            </a:gradFill>
            <a:ln w="57150">
              <a:solidFill>
                <a:srgbClr val="A5002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spcBef>
                  <a:spcPct val="20000"/>
                </a:spcBef>
                <a:buClr>
                  <a:srgbClr val="003399"/>
                </a:buClr>
                <a:buFont typeface="Times New Roman" pitchFamily="18" charset="0"/>
                <a:buNone/>
                <a:defRPr/>
              </a:pPr>
              <a:endParaRPr lang="en-US" sz="1400" dirty="0">
                <a:solidFill>
                  <a:srgbClr val="000000"/>
                </a:solidFill>
                <a:latin typeface="Times New Roman" pitchFamily="18" charset="0"/>
              </a:endParaRPr>
            </a:p>
          </p:txBody>
        </p:sp>
        <p:sp>
          <p:nvSpPr>
            <p:cNvPr id="30" name="Text Box 19"/>
            <p:cNvSpPr txBox="1">
              <a:spLocks noChangeArrowheads="1"/>
            </p:cNvSpPr>
            <p:nvPr/>
          </p:nvSpPr>
          <p:spPr bwMode="auto">
            <a:xfrm>
              <a:off x="2614343" y="2717469"/>
              <a:ext cx="1171562" cy="517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  <a:buClr>
                  <a:srgbClr val="003399"/>
                </a:buClr>
                <a:buFont typeface="Times New Roman" pitchFamily="18" charset="0"/>
                <a:buNone/>
                <a:defRPr/>
              </a:pPr>
              <a:r>
                <a:rPr lang="en-US" sz="1400" dirty="0">
                  <a:solidFill>
                    <a:srgbClr val="0000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Times New Roman" pitchFamily="18" charset="0"/>
                </a:rPr>
                <a:t>Life Cycle Logistics</a:t>
              </a:r>
            </a:p>
          </p:txBody>
        </p:sp>
      </p:grpSp>
      <p:sp>
        <p:nvSpPr>
          <p:cNvPr id="33" name="AutoShape 69"/>
          <p:cNvSpPr>
            <a:spLocks/>
          </p:cNvSpPr>
          <p:nvPr/>
        </p:nvSpPr>
        <p:spPr bwMode="auto">
          <a:xfrm rot="5400000">
            <a:off x="5197475" y="1379595"/>
            <a:ext cx="225425" cy="5632450"/>
          </a:xfrm>
          <a:prstGeom prst="leftBrace">
            <a:avLst>
              <a:gd name="adj1" fmla="val 139852"/>
              <a:gd name="adj2" fmla="val 50000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rgbClr val="003399"/>
              </a:buClr>
              <a:buFont typeface="Times New Roman" pitchFamily="18" charset="0"/>
              <a:buNone/>
            </a:pPr>
            <a:endParaRPr lang="en-US" sz="1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34" name="AutoShape 78"/>
          <p:cNvSpPr>
            <a:spLocks/>
          </p:cNvSpPr>
          <p:nvPr/>
        </p:nvSpPr>
        <p:spPr bwMode="auto">
          <a:xfrm>
            <a:off x="2179638" y="2105082"/>
            <a:ext cx="261937" cy="4117975"/>
          </a:xfrm>
          <a:prstGeom prst="leftBrace">
            <a:avLst>
              <a:gd name="adj1" fmla="val 105973"/>
              <a:gd name="adj2" fmla="val 50000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rgbClr val="003399"/>
              </a:buClr>
              <a:buFont typeface="Times New Roman" pitchFamily="18" charset="0"/>
              <a:buNone/>
            </a:pPr>
            <a:endParaRPr lang="en-US" sz="14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36" name="AutoShape 70"/>
          <p:cNvSpPr>
            <a:spLocks noChangeArrowheads="1"/>
          </p:cNvSpPr>
          <p:nvPr/>
        </p:nvSpPr>
        <p:spPr bwMode="auto">
          <a:xfrm>
            <a:off x="631825" y="3659245"/>
            <a:ext cx="1543050" cy="750887"/>
          </a:xfrm>
          <a:prstGeom prst="roundRect">
            <a:avLst>
              <a:gd name="adj" fmla="val 16667"/>
            </a:avLst>
          </a:prstGeom>
          <a:solidFill>
            <a:srgbClr val="FFE885"/>
          </a:solidFill>
          <a:ln w="28575" algn="ctr">
            <a:noFill/>
            <a:round/>
            <a:headEnd/>
            <a:tailEnd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>
              <a:spcBef>
                <a:spcPct val="20000"/>
              </a:spcBef>
              <a:buClr>
                <a:srgbClr val="003399"/>
              </a:buClr>
              <a:buFont typeface="Times New Roman" pitchFamily="18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DoD Acquisition</a:t>
            </a:r>
          </a:p>
          <a:p>
            <a:pPr>
              <a:spcBef>
                <a:spcPct val="20000"/>
              </a:spcBef>
              <a:buClr>
                <a:srgbClr val="003399"/>
              </a:buClr>
              <a:buFont typeface="Times New Roman" pitchFamily="18" charset="0"/>
              <a:buNone/>
              <a:defRPr/>
            </a:pPr>
            <a:r>
              <a:rPr lang="en-US" sz="14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Workforce</a:t>
            </a:r>
            <a:endParaRPr lang="en-US" sz="14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0" name="Title 43"/>
          <p:cNvSpPr txBox="1">
            <a:spLocks/>
          </p:cNvSpPr>
          <p:nvPr/>
        </p:nvSpPr>
        <p:spPr>
          <a:xfrm>
            <a:off x="1161827" y="-3711"/>
            <a:ext cx="8296720" cy="954107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>
            <a:lvl1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2"/>
                </a:solidFill>
                <a:latin typeface="Arial Narrow" pitchFamily="34" charset="0"/>
              </a:defRPr>
            </a:lvl2pPr>
            <a:lvl3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2"/>
                </a:solidFill>
                <a:latin typeface="Arial Narrow" pitchFamily="34" charset="0"/>
              </a:defRPr>
            </a:lvl3pPr>
            <a:lvl4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2"/>
                </a:solidFill>
                <a:latin typeface="Arial Narrow" pitchFamily="34" charset="0"/>
              </a:defRPr>
            </a:lvl4pPr>
            <a:lvl5pPr algn="ctr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2"/>
                </a:solidFill>
                <a:latin typeface="Arial Narrow" pitchFamily="34" charset="0"/>
              </a:defRPr>
            </a:lvl5pPr>
            <a:lvl6pPr marL="457200" algn="ctr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2"/>
                </a:solidFill>
                <a:latin typeface="Arial Narrow" pitchFamily="34" charset="0"/>
              </a:defRPr>
            </a:lvl6pPr>
            <a:lvl7pPr marL="914400" algn="ctr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2"/>
                </a:solidFill>
                <a:latin typeface="Arial Narrow" pitchFamily="34" charset="0"/>
              </a:defRPr>
            </a:lvl7pPr>
            <a:lvl8pPr marL="1371600" algn="ctr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2"/>
                </a:solidFill>
                <a:latin typeface="Arial Narrow" pitchFamily="34" charset="0"/>
              </a:defRPr>
            </a:lvl8pPr>
            <a:lvl9pPr marL="1828800" algn="ctr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2"/>
                </a:solidFill>
                <a:latin typeface="Arial Narrow" pitchFamily="34" charset="0"/>
              </a:defRPr>
            </a:lvl9pPr>
          </a:lstStyle>
          <a:p>
            <a:pPr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en-US" sz="2800" i="1" dirty="0">
                <a:solidFill>
                  <a:srgbClr val="000099"/>
                </a:solidFill>
                <a:latin typeface="Arial Narrow"/>
              </a:rPr>
              <a:t>Life Cycle Logistics:</a:t>
            </a:r>
          </a:p>
          <a:p>
            <a:pPr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en-US" sz="2800" i="1" dirty="0">
                <a:solidFill>
                  <a:srgbClr val="000099"/>
                </a:solidFill>
                <a:latin typeface="Arial Narrow"/>
              </a:rPr>
              <a:t>At </a:t>
            </a:r>
            <a:r>
              <a:rPr lang="en-US" sz="2800" i="1" dirty="0" smtClean="0">
                <a:solidFill>
                  <a:srgbClr val="000099"/>
                </a:solidFill>
                <a:latin typeface="Arial Narrow"/>
              </a:rPr>
              <a:t>the Intersection of </a:t>
            </a:r>
            <a:r>
              <a:rPr lang="en-US" sz="2800" i="1" dirty="0">
                <a:solidFill>
                  <a:srgbClr val="000099"/>
                </a:solidFill>
                <a:latin typeface="Arial Narrow"/>
              </a:rPr>
              <a:t>DoD Acquisition &amp; Logistics</a:t>
            </a:r>
          </a:p>
        </p:txBody>
      </p:sp>
      <p:sp>
        <p:nvSpPr>
          <p:cNvPr id="41" name="Text Box 13"/>
          <p:cNvSpPr txBox="1">
            <a:spLocks noChangeArrowheads="1"/>
          </p:cNvSpPr>
          <p:nvPr/>
        </p:nvSpPr>
        <p:spPr bwMode="auto">
          <a:xfrm>
            <a:off x="2560638" y="1545506"/>
            <a:ext cx="137636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buClr>
                <a:srgbClr val="003399"/>
              </a:buClr>
              <a:buFont typeface="Times New Roman" pitchFamily="18" charset="0"/>
              <a:buNone/>
              <a:defRPr/>
            </a:pPr>
            <a:r>
              <a:rPr lang="en-US" sz="1400" dirty="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Purchasing</a:t>
            </a:r>
          </a:p>
        </p:txBody>
      </p:sp>
      <p:sp>
        <p:nvSpPr>
          <p:cNvPr id="42" name="Text Box 13"/>
          <p:cNvSpPr txBox="1">
            <a:spLocks noChangeArrowheads="1"/>
          </p:cNvSpPr>
          <p:nvPr/>
        </p:nvSpPr>
        <p:spPr bwMode="auto">
          <a:xfrm>
            <a:off x="2536825" y="6467532"/>
            <a:ext cx="137636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buClr>
                <a:srgbClr val="003399"/>
              </a:buClr>
              <a:buFont typeface="Times New Roman" pitchFamily="18" charset="0"/>
              <a:buNone/>
              <a:defRPr/>
            </a:pPr>
            <a:r>
              <a:rPr lang="en-US" sz="1400" dirty="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Audit</a:t>
            </a:r>
          </a:p>
        </p:txBody>
      </p:sp>
      <p:sp>
        <p:nvSpPr>
          <p:cNvPr id="43" name="Text Box 13"/>
          <p:cNvSpPr txBox="1">
            <a:spLocks noChangeArrowheads="1"/>
          </p:cNvSpPr>
          <p:nvPr/>
        </p:nvSpPr>
        <p:spPr bwMode="auto">
          <a:xfrm>
            <a:off x="2565400" y="2682897"/>
            <a:ext cx="1376363" cy="458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buClr>
                <a:srgbClr val="003399"/>
              </a:buClr>
              <a:buFont typeface="Times New Roman" pitchFamily="18" charset="0"/>
              <a:buNone/>
              <a:defRPr/>
            </a:pPr>
            <a:r>
              <a:rPr lang="en-US" sz="1400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Production &amp; Quality</a:t>
            </a:r>
            <a:endParaRPr lang="en-US" sz="1400" dirty="0">
              <a:solidFill>
                <a:srgbClr val="CC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44" name="Text Box 13"/>
          <p:cNvSpPr txBox="1">
            <a:spLocks noChangeArrowheads="1"/>
          </p:cNvSpPr>
          <p:nvPr/>
        </p:nvSpPr>
        <p:spPr bwMode="auto">
          <a:xfrm>
            <a:off x="2524125" y="5973590"/>
            <a:ext cx="1376363" cy="458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buClr>
                <a:srgbClr val="003399"/>
              </a:buClr>
              <a:buFont typeface="Times New Roman" pitchFamily="18" charset="0"/>
              <a:buNone/>
              <a:defRPr/>
            </a:pPr>
            <a:r>
              <a:rPr lang="en-US" sz="1400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Facilities Engineering</a:t>
            </a:r>
            <a:endParaRPr lang="en-US" sz="1400" dirty="0">
              <a:solidFill>
                <a:srgbClr val="CC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45" name="Text Box 15"/>
          <p:cNvSpPr txBox="1">
            <a:spLocks noChangeArrowheads="1"/>
          </p:cNvSpPr>
          <p:nvPr/>
        </p:nvSpPr>
        <p:spPr bwMode="auto">
          <a:xfrm>
            <a:off x="2516141" y="3871176"/>
            <a:ext cx="1392238" cy="458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buClr>
                <a:srgbClr val="003399"/>
              </a:buClr>
              <a:buFont typeface="Times New Roman" pitchFamily="18" charset="0"/>
              <a:buNone/>
              <a:defRPr/>
            </a:pPr>
            <a:r>
              <a:rPr lang="en-US" sz="1400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Systems Engineering</a:t>
            </a:r>
            <a:endParaRPr lang="en-US" sz="1400" dirty="0">
              <a:solidFill>
                <a:srgbClr val="CC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46" name="Rectangle 20"/>
          <p:cNvSpPr>
            <a:spLocks noChangeArrowheads="1"/>
          </p:cNvSpPr>
          <p:nvPr/>
        </p:nvSpPr>
        <p:spPr bwMode="auto">
          <a:xfrm>
            <a:off x="2528888" y="5581707"/>
            <a:ext cx="1389062" cy="458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rgbClr val="003399"/>
              </a:buClr>
              <a:buFont typeface="Times New Roman" pitchFamily="18" charset="0"/>
              <a:buNone/>
              <a:defRPr/>
            </a:pPr>
            <a:r>
              <a:rPr lang="en-US" sz="1400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Information Technology</a:t>
            </a:r>
            <a:endParaRPr lang="en-US" sz="1400" dirty="0">
              <a:solidFill>
                <a:srgbClr val="CC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3590099" y="5268073"/>
            <a:ext cx="5457185" cy="1289435"/>
            <a:chOff x="3574379" y="5250638"/>
            <a:chExt cx="4724401" cy="1383837"/>
          </a:xfrm>
        </p:grpSpPr>
        <p:sp>
          <p:nvSpPr>
            <p:cNvPr id="48" name="Cloud Callout 47"/>
            <p:cNvSpPr/>
            <p:nvPr/>
          </p:nvSpPr>
          <p:spPr bwMode="auto">
            <a:xfrm flipH="1">
              <a:off x="3574379" y="5250638"/>
              <a:ext cx="4724401" cy="1383837"/>
            </a:xfrm>
            <a:prstGeom prst="cloudCallout">
              <a:avLst>
                <a:gd name="adj1" fmla="val 42945"/>
                <a:gd name="adj2" fmla="val -53611"/>
              </a:avLst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  <a:scene3d>
              <a:camera prst="orthographicFront">
                <a:rot lat="0" lon="20699996" rev="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49" name="TextBox 47"/>
            <p:cNvSpPr txBox="1">
              <a:spLocks noChangeArrowheads="1"/>
            </p:cNvSpPr>
            <p:nvPr/>
          </p:nvSpPr>
          <p:spPr bwMode="auto">
            <a:xfrm flipH="1">
              <a:off x="4138989" y="5434014"/>
              <a:ext cx="3543248" cy="9975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KEY </a:t>
              </a:r>
              <a:r>
                <a:rPr lang="en-US" sz="1600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FOCUS: Driving greater </a:t>
              </a:r>
              <a:r>
                <a:rPr lang="en-US" sz="1600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horizontal &amp; vertical </a:t>
              </a:r>
              <a:r>
                <a:rPr lang="en-US" sz="1600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integration </a:t>
              </a:r>
              <a:r>
                <a:rPr lang="en-US" sz="1600" u="sng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across the system life cycle </a:t>
              </a:r>
              <a:r>
                <a:rPr lang="en-US" sz="1600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to facilitate acquisition &amp; sustainment of </a:t>
              </a:r>
              <a:r>
                <a:rPr lang="en-US" sz="1600" u="sng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supportable and affordable systems </a:t>
              </a:r>
              <a:endParaRPr lang="en-US" sz="1600" u="sng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</p:grpSp>
      <p:sp>
        <p:nvSpPr>
          <p:cNvPr id="51" name="AutoShape 70"/>
          <p:cNvSpPr>
            <a:spLocks noChangeArrowheads="1"/>
          </p:cNvSpPr>
          <p:nvPr/>
        </p:nvSpPr>
        <p:spPr bwMode="auto">
          <a:xfrm>
            <a:off x="4510881" y="3464233"/>
            <a:ext cx="1677987" cy="579438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FF3300"/>
              </a:gs>
              <a:gs pos="50000">
                <a:srgbClr val="FFFFCC"/>
              </a:gs>
              <a:gs pos="100000">
                <a:srgbClr val="FF3300"/>
              </a:gs>
            </a:gsLst>
            <a:lin ang="5400000" scaled="1"/>
          </a:gra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100000"/>
              </a:lnSpc>
              <a:spcBef>
                <a:spcPts val="0"/>
              </a:spcBef>
              <a:buClr>
                <a:srgbClr val="003399"/>
              </a:buClr>
              <a:buFont typeface="Times New Roman" pitchFamily="18" charset="0"/>
              <a:buNone/>
            </a:pPr>
            <a:r>
              <a:rPr lang="en-US" sz="1400" dirty="0">
                <a:solidFill>
                  <a:srgbClr val="000000"/>
                </a:solidFill>
                <a:latin typeface="Arial" charset="0"/>
                <a:cs typeface="Arial" charset="0"/>
              </a:rPr>
              <a:t>DoD Logistic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003399"/>
              </a:buClr>
              <a:buFont typeface="Times New Roman" pitchFamily="18" charset="0"/>
              <a:buNone/>
            </a:pPr>
            <a:r>
              <a:rPr lang="en-US" sz="1400" dirty="0">
                <a:solidFill>
                  <a:srgbClr val="000000"/>
                </a:solidFill>
                <a:latin typeface="Arial" charset="0"/>
                <a:cs typeface="Arial" charset="0"/>
              </a:rPr>
              <a:t>Workforce</a:t>
            </a:r>
          </a:p>
        </p:txBody>
      </p:sp>
    </p:spTree>
    <p:extLst>
      <p:ext uri="{BB962C8B-B14F-4D97-AF65-F5344CB8AC3E}">
        <p14:creationId xmlns:p14="http://schemas.microsoft.com/office/powerpoint/2010/main" val="196090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868688" y="1284554"/>
            <a:ext cx="8122912" cy="4811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228600" lvl="1" indent="-228600" algn="l" eaLnBrk="1" hangingPunct="1">
              <a:lnSpc>
                <a:spcPct val="100000"/>
              </a:lnSpc>
              <a:spcBef>
                <a:spcPts val="1200"/>
              </a:spcBef>
              <a:buFontTx/>
              <a:buChar char="•"/>
              <a:defRPr/>
            </a:pPr>
            <a:r>
              <a:rPr lang="en-US" sz="1800" b="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Sustainment </a:t>
            </a:r>
            <a:r>
              <a:rPr lang="en-US" sz="18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across the life </a:t>
            </a:r>
            <a:r>
              <a:rPr lang="en-US" sz="180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cycle</a:t>
            </a:r>
          </a:p>
          <a:p>
            <a:pPr marL="228600" lvl="1" indent="-228600" algn="l" eaLnBrk="1" hangingPunct="1">
              <a:lnSpc>
                <a:spcPct val="100000"/>
              </a:lnSpc>
              <a:spcBef>
                <a:spcPts val="1200"/>
              </a:spcBef>
              <a:buFontTx/>
              <a:buChar char="•"/>
              <a:defRPr/>
            </a:pPr>
            <a:r>
              <a:rPr lang="en-US" sz="1800" b="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Supported by a designated </a:t>
            </a:r>
            <a:r>
              <a:rPr lang="en-US" sz="180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Product Support Manager (PSM)</a:t>
            </a:r>
            <a:endParaRPr lang="en-US" sz="1800" kern="0" dirty="0">
              <a:solidFill>
                <a:schemeClr val="tx1">
                  <a:lumMod val="95000"/>
                  <a:lumOff val="5000"/>
                </a:schemeClr>
              </a:solidFill>
              <a:latin typeface="Arial"/>
              <a:cs typeface="Times New Roman"/>
            </a:endParaRPr>
          </a:p>
          <a:p>
            <a:pPr marL="228600" lvl="1" indent="-228600" algn="l" eaLnBrk="1" hangingPunct="1">
              <a:lnSpc>
                <a:spcPct val="100000"/>
              </a:lnSpc>
              <a:spcBef>
                <a:spcPts val="1200"/>
              </a:spcBef>
              <a:buFontTx/>
              <a:buChar char="•"/>
              <a:defRPr/>
            </a:pPr>
            <a:r>
              <a:rPr lang="en-US" sz="1800" b="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Emphasis on program sustainment and </a:t>
            </a:r>
            <a:r>
              <a:rPr lang="en-US" sz="180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operating &amp; support costs</a:t>
            </a:r>
          </a:p>
          <a:p>
            <a:pPr marL="228600" lvl="1" indent="-228600" algn="l" eaLnBrk="1" hangingPunct="1">
              <a:lnSpc>
                <a:spcPct val="100000"/>
              </a:lnSpc>
              <a:spcBef>
                <a:spcPts val="1200"/>
              </a:spcBef>
              <a:buFontTx/>
              <a:buChar char="•"/>
              <a:defRPr/>
            </a:pPr>
            <a:r>
              <a:rPr lang="en-US" sz="1800" b="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Detailed planning required in support of </a:t>
            </a:r>
            <a:r>
              <a:rPr lang="en-US" sz="180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all acquisition phases</a:t>
            </a:r>
          </a:p>
          <a:p>
            <a:pPr marL="228600" lvl="1" indent="-228600" algn="l" eaLnBrk="1" hangingPunct="1">
              <a:lnSpc>
                <a:spcPct val="100000"/>
              </a:lnSpc>
              <a:spcBef>
                <a:spcPts val="1200"/>
              </a:spcBef>
              <a:buFontTx/>
              <a:buChar char="•"/>
              <a:defRPr/>
            </a:pPr>
            <a:r>
              <a:rPr lang="en-US" sz="1800" b="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Ms </a:t>
            </a:r>
            <a:r>
              <a:rPr lang="en-US" sz="1800" b="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en-US" sz="1800" b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 and implement an affordable &amp; effective </a:t>
            </a:r>
            <a:r>
              <a:rPr lang="en-US" sz="18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ce-based </a:t>
            </a:r>
            <a:r>
              <a:rPr lang="en-US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 support strategy</a:t>
            </a:r>
            <a:r>
              <a:rPr lang="en-US" sz="1800" b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  <a:endParaRPr lang="en-US" sz="1800" kern="0" dirty="0" smtClean="0">
              <a:solidFill>
                <a:schemeClr val="tx1">
                  <a:lumMod val="95000"/>
                  <a:lumOff val="5000"/>
                </a:schemeClr>
              </a:solidFill>
              <a:latin typeface="Arial"/>
              <a:cs typeface="Times New Roman"/>
            </a:endParaRPr>
          </a:p>
          <a:p>
            <a:pPr marL="285750" lvl="1" indent="-285750" algn="l" eaLnBrk="1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US" sz="180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Life-Cycle Sustainment Plan (LCSP) </a:t>
            </a:r>
            <a:r>
              <a:rPr lang="en-US" sz="1800" b="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for all programs</a:t>
            </a:r>
          </a:p>
          <a:p>
            <a:pPr marL="228600" lvl="1" indent="-228600" algn="l" eaLnBrk="1" hangingPunct="1">
              <a:lnSpc>
                <a:spcPct val="100000"/>
              </a:lnSpc>
              <a:spcBef>
                <a:spcPts val="1200"/>
              </a:spcBef>
              <a:buFontTx/>
              <a:buChar char="•"/>
              <a:defRPr/>
            </a:pPr>
            <a:r>
              <a:rPr lang="en-US" sz="1800" b="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Outlines overarching </a:t>
            </a:r>
            <a:r>
              <a:rPr lang="en-US" sz="180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Sustainment </a:t>
            </a:r>
            <a:r>
              <a:rPr lang="en-US" sz="18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Metrics</a:t>
            </a:r>
          </a:p>
          <a:p>
            <a:pPr marL="228600" lvl="1" indent="-228600" algn="l" eaLnBrk="1" hangingPunct="1">
              <a:lnSpc>
                <a:spcPct val="100000"/>
              </a:lnSpc>
              <a:spcBef>
                <a:spcPts val="1200"/>
              </a:spcBef>
              <a:buFontTx/>
              <a:buChar char="•"/>
              <a:defRPr/>
            </a:pPr>
            <a:r>
              <a:rPr lang="en-US" sz="180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Independent </a:t>
            </a:r>
            <a:r>
              <a:rPr lang="en-US" sz="18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Logistics Assessments </a:t>
            </a:r>
            <a:r>
              <a:rPr lang="en-US" sz="180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(ILA) </a:t>
            </a:r>
            <a:r>
              <a:rPr lang="en-US" sz="1800" b="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prior </a:t>
            </a:r>
            <a:r>
              <a:rPr lang="en-US" sz="1800" b="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to key decision </a:t>
            </a:r>
            <a:r>
              <a:rPr lang="en-US" sz="1800" b="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points &amp; </a:t>
            </a:r>
            <a:r>
              <a:rPr lang="en-US" sz="1800" b="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milestone decisions to assess sustainment strategy</a:t>
            </a:r>
          </a:p>
          <a:p>
            <a:pPr marL="228600" lvl="1" indent="-228600" algn="l" eaLnBrk="1" hangingPunct="1">
              <a:lnSpc>
                <a:spcPct val="100000"/>
              </a:lnSpc>
              <a:spcBef>
                <a:spcPts val="1200"/>
              </a:spcBef>
              <a:buFontTx/>
              <a:buChar char="•"/>
              <a:defRPr/>
            </a:pPr>
            <a:r>
              <a:rPr lang="en-US" sz="1800" b="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Followed by</a:t>
            </a:r>
            <a:r>
              <a:rPr lang="en-US" sz="180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 post-IOC sustainment assessments </a:t>
            </a:r>
            <a:r>
              <a:rPr lang="en-US" sz="1800" b="0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every </a:t>
            </a:r>
            <a:r>
              <a:rPr lang="en-US" sz="1800" b="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cs typeface="Times New Roman"/>
              </a:rPr>
              <a:t>5 years</a:t>
            </a:r>
          </a:p>
          <a:p>
            <a:pPr marL="228600" lvl="1" indent="-228600" algn="l" eaLnBrk="1" hangingPunct="1">
              <a:lnSpc>
                <a:spcPct val="100000"/>
              </a:lnSpc>
              <a:spcBef>
                <a:spcPts val="800"/>
              </a:spcBef>
              <a:buFontTx/>
              <a:buChar char="•"/>
              <a:defRPr/>
            </a:pPr>
            <a:endParaRPr lang="en-US" sz="2200" b="0" kern="0" dirty="0" smtClean="0">
              <a:solidFill>
                <a:srgbClr val="000000"/>
              </a:solidFill>
              <a:latin typeface="Arial"/>
              <a:cs typeface="Times New Roman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1169289" y="67116"/>
            <a:ext cx="7867650" cy="754911"/>
          </a:xfrm>
          <a:prstGeom prst="rect">
            <a:avLst/>
          </a:prstGeom>
        </p:spPr>
        <p:txBody>
          <a:bodyPr lIns="0" tIns="0" rIns="0" bIns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i="1" u="none" strike="noStrike" kern="1200" cap="none" spc="0" normalizeH="0" baseline="0" noProof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Arial Narrow"/>
              </a:rPr>
              <a:t>DoD Life-Cycle Sustainment Policy</a:t>
            </a:r>
            <a:br>
              <a:rPr kumimoji="0" lang="en-US" sz="3000" i="1" u="none" strike="noStrike" kern="1200" cap="none" spc="0" normalizeH="0" baseline="0" noProof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Arial Narrow"/>
              </a:rPr>
            </a:br>
            <a:r>
              <a:rPr kumimoji="0" lang="en-US" sz="1400" i="1" u="none" strike="noStrike" kern="1200" cap="none" spc="0" normalizeH="0" baseline="0" noProof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Arial Narrow"/>
              </a:rPr>
              <a:t>(Source: DoD Instruction 5000.02,</a:t>
            </a:r>
            <a:r>
              <a:rPr kumimoji="0" lang="en-US" sz="1400" i="1" u="none" strike="noStrike" kern="1200" cap="none" spc="0" normalizeH="0" noProof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Arial Narrow"/>
              </a:rPr>
              <a:t> </a:t>
            </a:r>
            <a:r>
              <a:rPr kumimoji="0" lang="en-US" sz="1400" i="1" u="none" strike="noStrike" kern="1200" cap="none" spc="0" normalizeH="0" baseline="0" noProof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Arial Narrow"/>
              </a:rPr>
              <a:t>Enclosure 6</a:t>
            </a:r>
            <a:r>
              <a:rPr lang="en-US" sz="1400" i="1" dirty="0" smtClean="0">
                <a:solidFill>
                  <a:srgbClr val="000099"/>
                </a:solidFill>
                <a:latin typeface="Arial Narrow"/>
              </a:rPr>
              <a:t>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1" u="none" strike="noStrike" kern="1200" cap="none" spc="0" normalizeH="0" baseline="0" noProof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Arial Narrow"/>
              </a:rPr>
              <a:t>(Statute:</a:t>
            </a:r>
            <a:r>
              <a:rPr kumimoji="0" lang="en-US" sz="1400" i="1" u="none" strike="noStrike" kern="1200" cap="none" spc="0" normalizeH="0" noProof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Arial Narrow"/>
              </a:rPr>
              <a:t> 10 U.S.C. 2337, 2337a, 2441</a:t>
            </a:r>
            <a:r>
              <a:rPr kumimoji="0" lang="en-US" sz="1600" i="1" u="none" strike="noStrike" kern="1200" cap="none" spc="0" normalizeH="0" noProof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Arial Narrow"/>
              </a:rPr>
              <a:t>)</a:t>
            </a:r>
            <a:endParaRPr kumimoji="0" lang="en-US" sz="2400" i="1" u="none" strike="noStrike" kern="1200" cap="none" spc="0" normalizeH="0" baseline="0" noProof="0" dirty="0" smtClean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Arial Narrow"/>
            </a:endParaRPr>
          </a:p>
        </p:txBody>
      </p:sp>
      <p:sp>
        <p:nvSpPr>
          <p:cNvPr id="5" name="AutoShape 4"/>
          <p:cNvSpPr>
            <a:spLocks noChangeArrowheads="1"/>
          </p:cNvSpPr>
          <p:nvPr/>
        </p:nvSpPr>
        <p:spPr bwMode="auto">
          <a:xfrm>
            <a:off x="868688" y="5824728"/>
            <a:ext cx="7827256" cy="612648"/>
          </a:xfrm>
          <a:prstGeom prst="roundRect">
            <a:avLst>
              <a:gd name="adj" fmla="val 16667"/>
            </a:avLst>
          </a:prstGeom>
          <a:solidFill>
            <a:srgbClr val="0000CC"/>
          </a:solidFill>
          <a:ln w="38100" cap="sq">
            <a:noFill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eaLnBrk="1" hangingPunct="1">
              <a:lnSpc>
                <a:spcPct val="100000"/>
              </a:lnSpc>
              <a:defRPr/>
            </a:pPr>
            <a:r>
              <a:rPr lang="en-US" sz="1600" i="1" kern="0" dirty="0">
                <a:solidFill>
                  <a:schemeClr val="bg1"/>
                </a:solidFill>
              </a:rPr>
              <a:t>“The </a:t>
            </a:r>
            <a:r>
              <a:rPr lang="en-US" sz="1600" i="1" kern="0" dirty="0" smtClean="0">
                <a:solidFill>
                  <a:schemeClr val="bg1"/>
                </a:solidFill>
              </a:rPr>
              <a:t>Program Manager, </a:t>
            </a:r>
            <a:r>
              <a:rPr lang="en-US" sz="1600" i="1" kern="0" dirty="0">
                <a:solidFill>
                  <a:schemeClr val="bg1"/>
                </a:solidFill>
              </a:rPr>
              <a:t>with </a:t>
            </a:r>
            <a:r>
              <a:rPr lang="en-US" sz="1600" i="1" kern="0" dirty="0" smtClean="0">
                <a:solidFill>
                  <a:schemeClr val="bg1"/>
                </a:solidFill>
              </a:rPr>
              <a:t>support </a:t>
            </a:r>
            <a:r>
              <a:rPr lang="en-US" sz="1600" i="1" kern="0" dirty="0">
                <a:solidFill>
                  <a:schemeClr val="bg1"/>
                </a:solidFill>
              </a:rPr>
              <a:t>of the </a:t>
            </a:r>
            <a:r>
              <a:rPr lang="en-US" sz="1600" i="1" kern="0" dirty="0" smtClean="0">
                <a:solidFill>
                  <a:schemeClr val="bg1"/>
                </a:solidFill>
              </a:rPr>
              <a:t>PSM, will…ensure that</a:t>
            </a:r>
          </a:p>
          <a:p>
            <a:pPr eaLnBrk="1" hangingPunct="1">
              <a:lnSpc>
                <a:spcPct val="100000"/>
              </a:lnSpc>
              <a:defRPr/>
            </a:pPr>
            <a:r>
              <a:rPr lang="en-US" sz="1600" i="1" kern="0" dirty="0" smtClean="0">
                <a:solidFill>
                  <a:schemeClr val="bg1"/>
                </a:solidFill>
              </a:rPr>
              <a:t>sustainment </a:t>
            </a:r>
            <a:r>
              <a:rPr lang="en-US" sz="1600" i="1" kern="0" dirty="0">
                <a:solidFill>
                  <a:schemeClr val="bg1"/>
                </a:solidFill>
              </a:rPr>
              <a:t>factors are fully </a:t>
            </a:r>
            <a:r>
              <a:rPr lang="en-US" sz="1600" i="1" kern="0" dirty="0" smtClean="0">
                <a:solidFill>
                  <a:schemeClr val="bg1"/>
                </a:solidFill>
              </a:rPr>
              <a:t>considered at </a:t>
            </a:r>
            <a:r>
              <a:rPr lang="en-US" sz="1600" i="1" kern="0" dirty="0">
                <a:solidFill>
                  <a:schemeClr val="bg1"/>
                </a:solidFill>
              </a:rPr>
              <a:t>all key life-cycle management decision points</a:t>
            </a:r>
            <a:r>
              <a:rPr lang="en-US" sz="1600" i="1" kern="0" dirty="0" smtClean="0">
                <a:solidFill>
                  <a:schemeClr val="bg1"/>
                </a:solidFill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387659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Rectangle 106"/>
          <p:cNvSpPr/>
          <p:nvPr/>
        </p:nvSpPr>
        <p:spPr>
          <a:xfrm>
            <a:off x="253573" y="1043712"/>
            <a:ext cx="718499" cy="55886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2150" y="126563"/>
            <a:ext cx="7664961" cy="776922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b="1" i="1" dirty="0">
                <a:solidFill>
                  <a:srgbClr val="003399"/>
                </a:solidFill>
                <a:latin typeface="Arial Narrow" pitchFamily="34" charset="0"/>
                <a:cs typeface="+mj-cs"/>
              </a:rPr>
              <a:t>Integrated Suite of Product </a:t>
            </a:r>
            <a:r>
              <a:rPr lang="en-US" sz="2400" b="1" i="1" dirty="0" smtClean="0">
                <a:solidFill>
                  <a:srgbClr val="003399"/>
                </a:solidFill>
                <a:latin typeface="Arial Narrow" pitchFamily="34" charset="0"/>
                <a:cs typeface="+mj-cs"/>
              </a:rPr>
              <a:t>Support</a:t>
            </a:r>
            <a:br>
              <a:rPr lang="en-US" sz="2400" b="1" i="1" dirty="0" smtClean="0">
                <a:solidFill>
                  <a:srgbClr val="003399"/>
                </a:solidFill>
                <a:latin typeface="Arial Narrow" pitchFamily="34" charset="0"/>
                <a:cs typeface="+mj-cs"/>
              </a:rPr>
            </a:br>
            <a:r>
              <a:rPr lang="en-US" sz="2400" b="1" i="1" dirty="0" smtClean="0">
                <a:solidFill>
                  <a:srgbClr val="003399"/>
                </a:solidFill>
                <a:latin typeface="Arial Narrow" pitchFamily="34" charset="0"/>
                <a:cs typeface="+mj-cs"/>
              </a:rPr>
              <a:t>Focused </a:t>
            </a:r>
            <a:r>
              <a:rPr lang="en-US" sz="2400" b="1" i="1" dirty="0">
                <a:solidFill>
                  <a:srgbClr val="003399"/>
                </a:solidFill>
                <a:latin typeface="Arial Narrow" pitchFamily="34" charset="0"/>
                <a:cs typeface="+mj-cs"/>
              </a:rPr>
              <a:t>Learning </a:t>
            </a:r>
            <a:r>
              <a:rPr lang="en-US" sz="2400" b="1" i="1" dirty="0" smtClean="0">
                <a:solidFill>
                  <a:srgbClr val="003399"/>
                </a:solidFill>
                <a:latin typeface="Arial Narrow" pitchFamily="34" charset="0"/>
                <a:cs typeface="+mj-cs"/>
              </a:rPr>
              <a:t>Assets &amp; Related Resources</a:t>
            </a:r>
            <a:endParaRPr lang="en-US" sz="2400" b="1" i="1" dirty="0">
              <a:solidFill>
                <a:srgbClr val="003399"/>
              </a:solidFill>
              <a:latin typeface="Arial Narrow" pitchFamily="34" charset="0"/>
              <a:cs typeface="+mj-cs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2716049" y="1833296"/>
            <a:ext cx="3707607" cy="3636169"/>
            <a:chOff x="2566862" y="1728788"/>
            <a:chExt cx="3707607" cy="3636169"/>
          </a:xfrm>
        </p:grpSpPr>
        <p:cxnSp>
          <p:nvCxnSpPr>
            <p:cNvPr id="68" name="Straight Connector 67"/>
            <p:cNvCxnSpPr>
              <a:stCxn id="52" idx="3"/>
              <a:endCxn id="52" idx="0"/>
            </p:cNvCxnSpPr>
            <p:nvPr/>
          </p:nvCxnSpPr>
          <p:spPr>
            <a:xfrm flipV="1">
              <a:off x="3631860" y="2793785"/>
              <a:ext cx="2642609" cy="2571171"/>
            </a:xfrm>
            <a:prstGeom prst="line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2" name="Octagon 51"/>
            <p:cNvSpPr/>
            <p:nvPr/>
          </p:nvSpPr>
          <p:spPr>
            <a:xfrm>
              <a:off x="2566863" y="1728788"/>
              <a:ext cx="3707606" cy="3636169"/>
            </a:xfrm>
            <a:prstGeom prst="octagon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53" name="Straight Connector 52"/>
            <p:cNvCxnSpPr>
              <a:endCxn id="52" idx="0"/>
            </p:cNvCxnSpPr>
            <p:nvPr/>
          </p:nvCxnSpPr>
          <p:spPr>
            <a:xfrm>
              <a:off x="3629025" y="1728788"/>
              <a:ext cx="2645444" cy="1064998"/>
            </a:xfrm>
            <a:prstGeom prst="line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" name="Straight Connector 53"/>
            <p:cNvCxnSpPr>
              <a:endCxn id="52" idx="1"/>
            </p:cNvCxnSpPr>
            <p:nvPr/>
          </p:nvCxnSpPr>
          <p:spPr>
            <a:xfrm>
              <a:off x="3629025" y="1728788"/>
              <a:ext cx="2645444" cy="2571171"/>
            </a:xfrm>
            <a:prstGeom prst="line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5" name="Straight Connector 54"/>
            <p:cNvCxnSpPr>
              <a:stCxn id="52" idx="6"/>
            </p:cNvCxnSpPr>
            <p:nvPr/>
          </p:nvCxnSpPr>
          <p:spPr>
            <a:xfrm>
              <a:off x="3631860" y="1728788"/>
              <a:ext cx="1580446" cy="3636169"/>
            </a:xfrm>
            <a:prstGeom prst="line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Straight Connector 55"/>
            <p:cNvCxnSpPr>
              <a:stCxn id="52" idx="6"/>
              <a:endCxn id="52" idx="3"/>
            </p:cNvCxnSpPr>
            <p:nvPr/>
          </p:nvCxnSpPr>
          <p:spPr>
            <a:xfrm>
              <a:off x="3631860" y="1728788"/>
              <a:ext cx="0" cy="3636169"/>
            </a:xfrm>
            <a:prstGeom prst="line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7" name="Straight Connector 56"/>
            <p:cNvCxnSpPr>
              <a:stCxn id="52" idx="6"/>
              <a:endCxn id="52" idx="4"/>
            </p:cNvCxnSpPr>
            <p:nvPr/>
          </p:nvCxnSpPr>
          <p:spPr>
            <a:xfrm flipH="1">
              <a:off x="2566863" y="1728788"/>
              <a:ext cx="1064998" cy="2571171"/>
            </a:xfrm>
            <a:prstGeom prst="line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8" name="Straight Connector 57"/>
            <p:cNvCxnSpPr>
              <a:stCxn id="52" idx="7"/>
              <a:endCxn id="52" idx="5"/>
            </p:cNvCxnSpPr>
            <p:nvPr/>
          </p:nvCxnSpPr>
          <p:spPr>
            <a:xfrm flipH="1">
              <a:off x="2566862" y="1728788"/>
              <a:ext cx="2642609" cy="1064998"/>
            </a:xfrm>
            <a:prstGeom prst="line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9" name="Straight Connector 58"/>
            <p:cNvCxnSpPr>
              <a:stCxn id="52" idx="0"/>
              <a:endCxn id="52" idx="5"/>
            </p:cNvCxnSpPr>
            <p:nvPr/>
          </p:nvCxnSpPr>
          <p:spPr>
            <a:xfrm flipH="1">
              <a:off x="2566863" y="2793785"/>
              <a:ext cx="3707606" cy="0"/>
            </a:xfrm>
            <a:prstGeom prst="line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0" name="Straight Connector 59"/>
            <p:cNvCxnSpPr>
              <a:stCxn id="52" idx="1"/>
              <a:endCxn id="52" idx="5"/>
            </p:cNvCxnSpPr>
            <p:nvPr/>
          </p:nvCxnSpPr>
          <p:spPr>
            <a:xfrm flipH="1" flipV="1">
              <a:off x="2566863" y="2793786"/>
              <a:ext cx="3707606" cy="1506173"/>
            </a:xfrm>
            <a:prstGeom prst="line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" name="Straight Connector 60"/>
            <p:cNvCxnSpPr>
              <a:stCxn id="52" idx="2"/>
              <a:endCxn id="52" idx="5"/>
            </p:cNvCxnSpPr>
            <p:nvPr/>
          </p:nvCxnSpPr>
          <p:spPr>
            <a:xfrm flipH="1" flipV="1">
              <a:off x="2566862" y="2793785"/>
              <a:ext cx="2642609" cy="2571171"/>
            </a:xfrm>
            <a:prstGeom prst="line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2" name="Straight Connector 61"/>
            <p:cNvCxnSpPr>
              <a:stCxn id="52" idx="3"/>
              <a:endCxn id="52" idx="5"/>
            </p:cNvCxnSpPr>
            <p:nvPr/>
          </p:nvCxnSpPr>
          <p:spPr>
            <a:xfrm flipH="1" flipV="1">
              <a:off x="2566863" y="2793785"/>
              <a:ext cx="1064998" cy="2571171"/>
            </a:xfrm>
            <a:prstGeom prst="line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3" name="Straight Connector 62"/>
            <p:cNvCxnSpPr>
              <a:stCxn id="52" idx="4"/>
              <a:endCxn id="52" idx="7"/>
            </p:cNvCxnSpPr>
            <p:nvPr/>
          </p:nvCxnSpPr>
          <p:spPr>
            <a:xfrm flipV="1">
              <a:off x="2566862" y="1728788"/>
              <a:ext cx="2642609" cy="2571171"/>
            </a:xfrm>
            <a:prstGeom prst="line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4" name="Straight Connector 63"/>
            <p:cNvCxnSpPr>
              <a:stCxn id="52" idx="4"/>
              <a:endCxn id="52" idx="0"/>
            </p:cNvCxnSpPr>
            <p:nvPr/>
          </p:nvCxnSpPr>
          <p:spPr>
            <a:xfrm flipV="1">
              <a:off x="2566863" y="2793786"/>
              <a:ext cx="3707606" cy="1506173"/>
            </a:xfrm>
            <a:prstGeom prst="line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5" name="Straight Connector 64"/>
            <p:cNvCxnSpPr>
              <a:stCxn id="52" idx="4"/>
              <a:endCxn id="52" idx="1"/>
            </p:cNvCxnSpPr>
            <p:nvPr/>
          </p:nvCxnSpPr>
          <p:spPr>
            <a:xfrm>
              <a:off x="2566863" y="4299959"/>
              <a:ext cx="3707606" cy="0"/>
            </a:xfrm>
            <a:prstGeom prst="line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6" name="Straight Connector 65"/>
            <p:cNvCxnSpPr>
              <a:stCxn id="52" idx="4"/>
              <a:endCxn id="52" idx="2"/>
            </p:cNvCxnSpPr>
            <p:nvPr/>
          </p:nvCxnSpPr>
          <p:spPr>
            <a:xfrm>
              <a:off x="2566862" y="4299959"/>
              <a:ext cx="2642609" cy="1064998"/>
            </a:xfrm>
            <a:prstGeom prst="line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7" name="Straight Connector 66"/>
            <p:cNvCxnSpPr>
              <a:endCxn id="52" idx="1"/>
            </p:cNvCxnSpPr>
            <p:nvPr/>
          </p:nvCxnSpPr>
          <p:spPr>
            <a:xfrm flipV="1">
              <a:off x="3629025" y="4299959"/>
              <a:ext cx="2645444" cy="1064998"/>
            </a:xfrm>
            <a:prstGeom prst="line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9" name="Straight Connector 68"/>
            <p:cNvCxnSpPr>
              <a:stCxn id="52" idx="3"/>
              <a:endCxn id="52" idx="7"/>
            </p:cNvCxnSpPr>
            <p:nvPr/>
          </p:nvCxnSpPr>
          <p:spPr>
            <a:xfrm flipV="1">
              <a:off x="3631860" y="1728788"/>
              <a:ext cx="1577611" cy="3636169"/>
            </a:xfrm>
            <a:prstGeom prst="line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0" name="Straight Connector 69"/>
            <p:cNvCxnSpPr>
              <a:stCxn id="52" idx="2"/>
            </p:cNvCxnSpPr>
            <p:nvPr/>
          </p:nvCxnSpPr>
          <p:spPr>
            <a:xfrm flipV="1">
              <a:off x="5209471" y="2844473"/>
              <a:ext cx="1006430" cy="2520483"/>
            </a:xfrm>
            <a:prstGeom prst="line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1" name="Straight Connector 70"/>
            <p:cNvCxnSpPr>
              <a:stCxn id="52" idx="2"/>
              <a:endCxn id="52" idx="7"/>
            </p:cNvCxnSpPr>
            <p:nvPr/>
          </p:nvCxnSpPr>
          <p:spPr>
            <a:xfrm flipV="1">
              <a:off x="5209471" y="1728788"/>
              <a:ext cx="0" cy="3636169"/>
            </a:xfrm>
            <a:prstGeom prst="line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2" name="Straight Connector 71"/>
            <p:cNvCxnSpPr>
              <a:stCxn id="52" idx="7"/>
              <a:endCxn id="52" idx="1"/>
            </p:cNvCxnSpPr>
            <p:nvPr/>
          </p:nvCxnSpPr>
          <p:spPr>
            <a:xfrm>
              <a:off x="5209471" y="1728788"/>
              <a:ext cx="1064998" cy="2571171"/>
            </a:xfrm>
            <a:prstGeom prst="line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pic>
        <p:nvPicPr>
          <p:cNvPr id="82" name="Picture 8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9550" y="2264543"/>
            <a:ext cx="1816549" cy="2755203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grpSp>
        <p:nvGrpSpPr>
          <p:cNvPr id="6" name="Group 5"/>
          <p:cNvGrpSpPr/>
          <p:nvPr/>
        </p:nvGrpSpPr>
        <p:grpSpPr>
          <a:xfrm>
            <a:off x="3022724" y="3205481"/>
            <a:ext cx="3004064" cy="711639"/>
            <a:chOff x="3457923" y="3655550"/>
            <a:chExt cx="2250339" cy="569618"/>
          </a:xfrm>
        </p:grpSpPr>
        <p:grpSp>
          <p:nvGrpSpPr>
            <p:cNvPr id="7" name="Group 6"/>
            <p:cNvGrpSpPr/>
            <p:nvPr/>
          </p:nvGrpSpPr>
          <p:grpSpPr>
            <a:xfrm>
              <a:off x="3457923" y="3655550"/>
              <a:ext cx="2250339" cy="569618"/>
              <a:chOff x="3486498" y="3961324"/>
              <a:chExt cx="2250339" cy="569618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3677875" y="3961324"/>
                <a:ext cx="1870886" cy="56961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3486498" y="4027388"/>
                <a:ext cx="2250339" cy="450828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 smtClean="0">
                    <a:solidFill>
                      <a:srgbClr val="C00000"/>
                    </a:solidFill>
                  </a:rPr>
                  <a:t>Logistics Functional Area Gateway</a:t>
                </a:r>
              </a:p>
              <a:p>
                <a:r>
                  <a:rPr lang="en-US" sz="1100" u="sng" dirty="0">
                    <a:solidFill>
                      <a:srgbClr val="0000FF"/>
                    </a:solidFill>
                  </a:rPr>
                  <a:t>https://www.dau.mil/training/career-development/logistics/</a:t>
                </a:r>
              </a:p>
            </p:txBody>
          </p:sp>
        </p:grpSp>
        <p:sp>
          <p:nvSpPr>
            <p:cNvPr id="8" name="Rectangle 7"/>
            <p:cNvSpPr/>
            <p:nvPr/>
          </p:nvSpPr>
          <p:spPr>
            <a:xfrm>
              <a:off x="3626424" y="3681695"/>
              <a:ext cx="1893762" cy="52907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19" name="Group 118"/>
          <p:cNvGrpSpPr/>
          <p:nvPr/>
        </p:nvGrpSpPr>
        <p:grpSpPr>
          <a:xfrm>
            <a:off x="6398631" y="2341814"/>
            <a:ext cx="2616819" cy="1590043"/>
            <a:chOff x="6360923" y="2304106"/>
            <a:chExt cx="2616819" cy="1590043"/>
          </a:xfrm>
        </p:grpSpPr>
        <p:sp>
          <p:nvSpPr>
            <p:cNvPr id="45" name="TextBox 44"/>
            <p:cNvSpPr txBox="1"/>
            <p:nvPr/>
          </p:nvSpPr>
          <p:spPr>
            <a:xfrm>
              <a:off x="6625090" y="3278596"/>
              <a:ext cx="2119126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>
                  <a:solidFill>
                    <a:srgbClr val="C00000"/>
                  </a:solidFill>
                </a:rPr>
                <a:t>Product Support Mission Assist Workshops (5), Consulting Support </a:t>
              </a:r>
              <a:r>
                <a:rPr lang="en-US" sz="800" i="1" dirty="0">
                  <a:solidFill>
                    <a:schemeClr val="tx1">
                      <a:lumMod val="95000"/>
                      <a:lumOff val="5000"/>
                    </a:schemeClr>
                  </a:solidFill>
                  <a:hlinkClick r:id="rId3"/>
                </a:rPr>
                <a:t>www.dau.mil/consulting-services</a:t>
              </a:r>
              <a:r>
                <a:rPr lang="en-US" sz="800" i="1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 </a:t>
              </a:r>
            </a:p>
            <a:p>
              <a:endParaRPr lang="en-US" sz="900" i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grpSp>
          <p:nvGrpSpPr>
            <p:cNvPr id="95" name="Group 94"/>
            <p:cNvGrpSpPr/>
            <p:nvPr/>
          </p:nvGrpSpPr>
          <p:grpSpPr>
            <a:xfrm>
              <a:off x="6360923" y="2304106"/>
              <a:ext cx="2616819" cy="880906"/>
              <a:chOff x="6333215" y="2184038"/>
              <a:chExt cx="2616819" cy="880906"/>
            </a:xfrm>
          </p:grpSpPr>
          <p:sp>
            <p:nvSpPr>
              <p:cNvPr id="85" name="Oval 84"/>
              <p:cNvSpPr/>
              <p:nvPr/>
            </p:nvSpPr>
            <p:spPr>
              <a:xfrm>
                <a:off x="6333215" y="2184038"/>
                <a:ext cx="2616819" cy="880906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ffectLst>
                <a:glow rad="228600">
                  <a:schemeClr val="accent3">
                    <a:satMod val="175000"/>
                    <a:alpha val="40000"/>
                  </a:schemeClr>
                </a:glow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dirty="0">
                  <a:solidFill>
                    <a:schemeClr val="tx2">
                      <a:lumMod val="20000"/>
                      <a:lumOff val="80000"/>
                    </a:schemeClr>
                  </a:solidFill>
                </a:endParaRPr>
              </a:p>
            </p:txBody>
          </p:sp>
          <p:grpSp>
            <p:nvGrpSpPr>
              <p:cNvPr id="86" name="Group 85"/>
              <p:cNvGrpSpPr/>
              <p:nvPr/>
            </p:nvGrpSpPr>
            <p:grpSpPr>
              <a:xfrm>
                <a:off x="6991949" y="2253364"/>
                <a:ext cx="1400152" cy="752583"/>
                <a:chOff x="6853409" y="2207183"/>
                <a:chExt cx="1400152" cy="752583"/>
              </a:xfrm>
            </p:grpSpPr>
            <p:pic>
              <p:nvPicPr>
                <p:cNvPr id="81" name="Picture 80"/>
                <p:cNvPicPr>
                  <a:picLocks noChangeAspect="1"/>
                </p:cNvPicPr>
                <p:nvPr/>
              </p:nvPicPr>
              <p:blipFill rotWithShape="1"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6853409" y="2207183"/>
                  <a:ext cx="814512" cy="626882"/>
                </a:xfrm>
                <a:prstGeom prst="rect">
                  <a:avLst/>
                </a:prstGeom>
                <a:ln w="19050">
                  <a:solidFill>
                    <a:schemeClr val="tx1">
                      <a:lumMod val="95000"/>
                      <a:lumOff val="5000"/>
                    </a:schemeClr>
                  </a:solidFill>
                </a:ln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</p:spPr>
            </p:pic>
            <p:pic>
              <p:nvPicPr>
                <p:cNvPr id="84" name="Picture 83"/>
                <p:cNvPicPr>
                  <a:picLocks noChangeAspect="1"/>
                </p:cNvPicPr>
                <p:nvPr/>
              </p:nvPicPr>
              <p:blipFill>
                <a:blip r:embed="rId5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364402" y="2423376"/>
                  <a:ext cx="889159" cy="536390"/>
                </a:xfrm>
                <a:prstGeom prst="rect">
                  <a:avLst/>
                </a:prstGeom>
                <a:ln w="19050">
                  <a:solidFill>
                    <a:schemeClr val="tx1">
                      <a:lumMod val="95000"/>
                      <a:lumOff val="5000"/>
                    </a:schemeClr>
                  </a:solidFill>
                </a:ln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</p:spPr>
            </p:pic>
          </p:grpSp>
        </p:grpSp>
      </p:grpSp>
      <p:grpSp>
        <p:nvGrpSpPr>
          <p:cNvPr id="123" name="Group 122"/>
          <p:cNvGrpSpPr/>
          <p:nvPr/>
        </p:nvGrpSpPr>
        <p:grpSpPr>
          <a:xfrm>
            <a:off x="1293903" y="5405884"/>
            <a:ext cx="2994743" cy="1466887"/>
            <a:chOff x="1293903" y="5405884"/>
            <a:chExt cx="2994743" cy="1466887"/>
          </a:xfrm>
        </p:grpSpPr>
        <p:sp>
          <p:nvSpPr>
            <p:cNvPr id="37" name="TextBox 36"/>
            <p:cNvSpPr txBox="1"/>
            <p:nvPr/>
          </p:nvSpPr>
          <p:spPr>
            <a:xfrm>
              <a:off x="1293903" y="6309540"/>
              <a:ext cx="2967897" cy="5632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>
                  <a:solidFill>
                    <a:srgbClr val="C00000"/>
                  </a:solidFill>
                </a:rPr>
                <a:t>Product Support ACQuipedia Suite (147)</a:t>
              </a:r>
            </a:p>
            <a:p>
              <a:r>
                <a:rPr lang="en-US" sz="800" i="1" dirty="0">
                  <a:solidFill>
                    <a:prstClr val="black"/>
                  </a:solidFill>
                  <a:hlinkClick r:id="rId6"/>
                </a:rPr>
                <a:t>https://shortcut.dau.mil/acq/acquipedia</a:t>
              </a:r>
              <a:r>
                <a:rPr lang="en-US" sz="800" i="1" dirty="0">
                  <a:solidFill>
                    <a:prstClr val="black"/>
                  </a:solidFill>
                </a:rPr>
                <a:t>  </a:t>
              </a:r>
            </a:p>
            <a:p>
              <a:endParaRPr lang="en-US" sz="900" i="1" dirty="0"/>
            </a:p>
            <a:p>
              <a:endParaRPr lang="en-US" sz="800" dirty="0">
                <a:solidFill>
                  <a:srgbClr val="C00000"/>
                </a:solidFill>
              </a:endParaRPr>
            </a:p>
          </p:txBody>
        </p:sp>
        <p:sp>
          <p:nvSpPr>
            <p:cNvPr id="93" name="Oval 92"/>
            <p:cNvSpPr/>
            <p:nvPr/>
          </p:nvSpPr>
          <p:spPr>
            <a:xfrm>
              <a:off x="1671827" y="5405884"/>
              <a:ext cx="2616819" cy="893282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>
              <a:glow rad="228600">
                <a:schemeClr val="accent1">
                  <a:satMod val="175000"/>
                  <a:alpha val="40000"/>
                </a:schemeClr>
              </a:glow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2">
                    <a:lumMod val="20000"/>
                    <a:lumOff val="80000"/>
                  </a:schemeClr>
                </a:solidFill>
              </a:endParaRPr>
            </a:p>
          </p:txBody>
        </p:sp>
        <p:grpSp>
          <p:nvGrpSpPr>
            <p:cNvPr id="122" name="Group 121"/>
            <p:cNvGrpSpPr/>
            <p:nvPr/>
          </p:nvGrpSpPr>
          <p:grpSpPr>
            <a:xfrm>
              <a:off x="2063830" y="5504875"/>
              <a:ext cx="1848123" cy="606198"/>
              <a:chOff x="2063830" y="5504875"/>
              <a:chExt cx="1848123" cy="606198"/>
            </a:xfrm>
          </p:grpSpPr>
          <p:pic>
            <p:nvPicPr>
              <p:cNvPr id="99" name="Picture 98"/>
              <p:cNvPicPr>
                <a:picLocks noChangeAspect="1"/>
              </p:cNvPicPr>
              <p:nvPr/>
            </p:nvPicPr>
            <p:blipFill rotWithShape="1"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063830" y="5504875"/>
                <a:ext cx="1284621" cy="367539"/>
              </a:xfrm>
              <a:prstGeom prst="rect">
                <a:avLst/>
              </a:prstGeom>
              <a:ln w="6350">
                <a:solidFill>
                  <a:schemeClr val="tx1">
                    <a:lumMod val="95000"/>
                    <a:lumOff val="5000"/>
                  </a:schemeClr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00" name="Picture 99"/>
              <p:cNvPicPr>
                <a:picLocks noChangeAspect="1"/>
              </p:cNvPicPr>
              <p:nvPr/>
            </p:nvPicPr>
            <p:blipFill rotWithShape="1"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644449" y="5801565"/>
                <a:ext cx="1267504" cy="309508"/>
              </a:xfrm>
              <a:prstGeom prst="rect">
                <a:avLst/>
              </a:prstGeom>
            </p:spPr>
          </p:pic>
        </p:grpSp>
      </p:grpSp>
      <p:grpSp>
        <p:nvGrpSpPr>
          <p:cNvPr id="125" name="Group 124"/>
          <p:cNvGrpSpPr/>
          <p:nvPr/>
        </p:nvGrpSpPr>
        <p:grpSpPr>
          <a:xfrm>
            <a:off x="117629" y="4064981"/>
            <a:ext cx="2616819" cy="1542712"/>
            <a:chOff x="145910" y="4102689"/>
            <a:chExt cx="2616819" cy="1542712"/>
          </a:xfrm>
        </p:grpSpPr>
        <p:sp>
          <p:nvSpPr>
            <p:cNvPr id="43" name="TextBox 42"/>
            <p:cNvSpPr txBox="1"/>
            <p:nvPr/>
          </p:nvSpPr>
          <p:spPr>
            <a:xfrm>
              <a:off x="257108" y="5069089"/>
              <a:ext cx="2443863" cy="5763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>
                  <a:solidFill>
                    <a:srgbClr val="C00000"/>
                  </a:solidFill>
                </a:rPr>
                <a:t>Product Support Tools Suite (473)</a:t>
              </a:r>
            </a:p>
            <a:p>
              <a:r>
                <a:rPr lang="en-US" sz="800" i="1" dirty="0">
                  <a:solidFill>
                    <a:srgbClr val="0000FF"/>
                  </a:solidFill>
                  <a:hlinkClick r:id="rId9"/>
                </a:rPr>
                <a:t>https://</a:t>
              </a:r>
              <a:r>
                <a:rPr lang="en-US" sz="800" i="1" dirty="0" smtClean="0">
                  <a:solidFill>
                    <a:srgbClr val="0000FF"/>
                  </a:solidFill>
                  <a:hlinkClick r:id="rId9"/>
                </a:rPr>
                <a:t>www.dau.mil/tools/p/Integrated-Product-Support-Tools-and-Resources</a:t>
              </a:r>
              <a:r>
                <a:rPr lang="en-US" sz="800" i="1" dirty="0" smtClean="0">
                  <a:solidFill>
                    <a:srgbClr val="0000FF"/>
                  </a:solidFill>
                </a:rPr>
                <a:t> </a:t>
              </a:r>
              <a:endParaRPr lang="en-US" sz="800" i="1" dirty="0">
                <a:solidFill>
                  <a:srgbClr val="0000FF"/>
                </a:solidFill>
              </a:endParaRPr>
            </a:p>
            <a:p>
              <a:endParaRPr lang="en-US" sz="1000" dirty="0">
                <a:solidFill>
                  <a:srgbClr val="C00000"/>
                </a:solidFill>
              </a:endParaRPr>
            </a:p>
          </p:txBody>
        </p:sp>
        <p:sp>
          <p:nvSpPr>
            <p:cNvPr id="97" name="Oval 96"/>
            <p:cNvSpPr/>
            <p:nvPr/>
          </p:nvSpPr>
          <p:spPr>
            <a:xfrm>
              <a:off x="145910" y="4102689"/>
              <a:ext cx="2616819" cy="893282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>
              <a:glow rad="228600">
                <a:schemeClr val="accent1">
                  <a:satMod val="175000"/>
                  <a:alpha val="40000"/>
                </a:schemeClr>
              </a:glow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2">
                    <a:lumMod val="20000"/>
                    <a:lumOff val="80000"/>
                  </a:schemeClr>
                </a:solidFill>
              </a:endParaRPr>
            </a:p>
          </p:txBody>
        </p:sp>
        <p:grpSp>
          <p:nvGrpSpPr>
            <p:cNvPr id="124" name="Group 123"/>
            <p:cNvGrpSpPr/>
            <p:nvPr/>
          </p:nvGrpSpPr>
          <p:grpSpPr>
            <a:xfrm>
              <a:off x="920193" y="4189354"/>
              <a:ext cx="1198671" cy="732541"/>
              <a:chOff x="920193" y="4189354"/>
              <a:chExt cx="1198671" cy="732541"/>
            </a:xfrm>
          </p:grpSpPr>
          <p:pic>
            <p:nvPicPr>
              <p:cNvPr id="104" name="Picture 103"/>
              <p:cNvPicPr>
                <a:picLocks noChangeAspect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20193" y="4189354"/>
                <a:ext cx="613901" cy="598735"/>
              </a:xfrm>
              <a:prstGeom prst="rect">
                <a:avLst/>
              </a:prstGeom>
              <a:ln w="6350">
                <a:solidFill>
                  <a:schemeClr val="tx1">
                    <a:lumMod val="95000"/>
                    <a:lumOff val="5000"/>
                  </a:schemeClr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05" name="Picture 104"/>
              <p:cNvPicPr>
                <a:picLocks noChangeAspect="1"/>
              </p:cNvPicPr>
              <p:nvPr/>
            </p:nvPicPr>
            <p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437469" y="4260883"/>
                <a:ext cx="681395" cy="661012"/>
              </a:xfrm>
              <a:prstGeom prst="rect">
                <a:avLst/>
              </a:prstGeom>
              <a:ln w="6350">
                <a:solidFill>
                  <a:schemeClr val="tx1">
                    <a:lumMod val="95000"/>
                    <a:lumOff val="5000"/>
                  </a:schemeClr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</p:grpSp>
      <p:grpSp>
        <p:nvGrpSpPr>
          <p:cNvPr id="117" name="Group 116"/>
          <p:cNvGrpSpPr/>
          <p:nvPr/>
        </p:nvGrpSpPr>
        <p:grpSpPr>
          <a:xfrm>
            <a:off x="1396932" y="1027869"/>
            <a:ext cx="2774115" cy="1459566"/>
            <a:chOff x="1396932" y="1027869"/>
            <a:chExt cx="2774115" cy="1459566"/>
          </a:xfrm>
        </p:grpSpPr>
        <p:sp>
          <p:nvSpPr>
            <p:cNvPr id="51" name="TextBox 50"/>
            <p:cNvSpPr txBox="1"/>
            <p:nvPr/>
          </p:nvSpPr>
          <p:spPr>
            <a:xfrm>
              <a:off x="1396932" y="1934014"/>
              <a:ext cx="2559398" cy="5534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>
                  <a:solidFill>
                    <a:srgbClr val="C00000"/>
                  </a:solidFill>
                </a:rPr>
                <a:t>Logistics </a:t>
              </a:r>
              <a:r>
                <a:rPr lang="en-US" sz="1100" dirty="0" smtClean="0">
                  <a:solidFill>
                    <a:srgbClr val="C00000"/>
                  </a:solidFill>
                </a:rPr>
                <a:t>Training (13)</a:t>
              </a:r>
              <a:endParaRPr lang="en-US" sz="1100" dirty="0">
                <a:solidFill>
                  <a:srgbClr val="C00000"/>
                </a:solidFill>
              </a:endParaRPr>
            </a:p>
            <a:p>
              <a:r>
                <a:rPr lang="en-US" sz="800" i="1" dirty="0">
                  <a:solidFill>
                    <a:schemeClr val="tx1">
                      <a:lumMod val="95000"/>
                      <a:lumOff val="5000"/>
                    </a:schemeClr>
                  </a:solidFill>
                  <a:hlinkClick r:id="rId12"/>
                </a:rPr>
                <a:t>http://</a:t>
              </a:r>
              <a:r>
                <a:rPr lang="en-US" sz="800" i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hlinkClick r:id=""/>
                </a:rPr>
                <a:t>icatalog.dau.mil/onlinecatalog</a:t>
              </a:r>
            </a:p>
            <a:p>
              <a:r>
                <a:rPr lang="en-US" sz="800" i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hlinkClick r:id=""/>
                </a:rPr>
                <a:t>/tabnav.aspx?tab=LOG</a:t>
              </a:r>
              <a:r>
                <a:rPr lang="en-US" sz="800" i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  </a:t>
              </a:r>
            </a:p>
            <a:p>
              <a:endParaRPr lang="en-US" sz="825" dirty="0">
                <a:solidFill>
                  <a:srgbClr val="C00000"/>
                </a:solidFill>
              </a:endParaRPr>
            </a:p>
          </p:txBody>
        </p:sp>
        <p:grpSp>
          <p:nvGrpSpPr>
            <p:cNvPr id="116" name="Group 115"/>
            <p:cNvGrpSpPr/>
            <p:nvPr/>
          </p:nvGrpSpPr>
          <p:grpSpPr>
            <a:xfrm>
              <a:off x="1554228" y="1027869"/>
              <a:ext cx="2616819" cy="880906"/>
              <a:chOff x="1639071" y="1027869"/>
              <a:chExt cx="2616819" cy="880906"/>
            </a:xfrm>
          </p:grpSpPr>
          <p:sp>
            <p:nvSpPr>
              <p:cNvPr id="96" name="Oval 95"/>
              <p:cNvSpPr/>
              <p:nvPr/>
            </p:nvSpPr>
            <p:spPr>
              <a:xfrm>
                <a:off x="1639071" y="1027869"/>
                <a:ext cx="2616819" cy="880906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>
                <a:glow rad="139700">
                  <a:schemeClr val="accent2">
                    <a:satMod val="175000"/>
                    <a:alpha val="40000"/>
                  </a:schemeClr>
                </a:glow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dirty="0">
                  <a:solidFill>
                    <a:schemeClr val="tx2">
                      <a:lumMod val="20000"/>
                      <a:lumOff val="80000"/>
                    </a:schemeClr>
                  </a:solidFill>
                </a:endParaRPr>
              </a:p>
            </p:txBody>
          </p:sp>
          <p:pic>
            <p:nvPicPr>
              <p:cNvPr id="110" name="Picture 109"/>
              <p:cNvPicPr>
                <a:picLocks noChangeAspect="1"/>
              </p:cNvPicPr>
              <p:nvPr/>
            </p:nvPicPr>
            <p:blipFill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918234" y="1234008"/>
                <a:ext cx="678659" cy="591529"/>
              </a:xfrm>
              <a:prstGeom prst="rect">
                <a:avLst/>
              </a:prstGeom>
              <a:ln w="6350">
                <a:solidFill>
                  <a:schemeClr val="tx1">
                    <a:lumMod val="95000"/>
                    <a:lumOff val="5000"/>
                  </a:schemeClr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11" name="Picture 110"/>
              <p:cNvPicPr>
                <a:picLocks noChangeAspect="1"/>
              </p:cNvPicPr>
              <p:nvPr/>
            </p:nvPicPr>
            <p:blipFill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274952" y="1099521"/>
                <a:ext cx="731791" cy="649154"/>
              </a:xfrm>
              <a:prstGeom prst="rect">
                <a:avLst/>
              </a:prstGeom>
              <a:ln w="6350">
                <a:solidFill>
                  <a:schemeClr val="tx1">
                    <a:lumMod val="95000"/>
                    <a:lumOff val="5000"/>
                  </a:schemeClr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</p:grpSp>
      <p:grpSp>
        <p:nvGrpSpPr>
          <p:cNvPr id="118" name="Group 117"/>
          <p:cNvGrpSpPr/>
          <p:nvPr/>
        </p:nvGrpSpPr>
        <p:grpSpPr>
          <a:xfrm>
            <a:off x="5024482" y="1052563"/>
            <a:ext cx="2772233" cy="1439373"/>
            <a:chOff x="5024482" y="1033709"/>
            <a:chExt cx="2772233" cy="1439373"/>
          </a:xfrm>
        </p:grpSpPr>
        <p:sp>
          <p:nvSpPr>
            <p:cNvPr id="49" name="TextBox 48"/>
            <p:cNvSpPr txBox="1"/>
            <p:nvPr/>
          </p:nvSpPr>
          <p:spPr>
            <a:xfrm>
              <a:off x="5374704" y="1919661"/>
              <a:ext cx="2422011" cy="5534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>
                  <a:solidFill>
                    <a:srgbClr val="C00000"/>
                  </a:solidFill>
                </a:rPr>
                <a:t>Logistics Continuous Learning (40)</a:t>
              </a:r>
            </a:p>
            <a:p>
              <a:r>
                <a:rPr lang="en-US" sz="800" i="1" dirty="0">
                  <a:solidFill>
                    <a:schemeClr val="tx1">
                      <a:lumMod val="95000"/>
                      <a:lumOff val="5000"/>
                    </a:schemeClr>
                  </a:solidFill>
                  <a:hlinkClick r:id="rId15"/>
                </a:rPr>
                <a:t>http://</a:t>
              </a:r>
              <a:r>
                <a:rPr lang="en-US" sz="800" i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hlinkClick r:id=""/>
                </a:rPr>
                <a:t>icatalog.dau.mil/onlinecatalog/</a:t>
              </a:r>
            </a:p>
            <a:p>
              <a:r>
                <a:rPr lang="en-US" sz="800" i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hlinkClick r:id=""/>
                </a:rPr>
                <a:t>tabnavcl.aspx?tab=CLL</a:t>
              </a:r>
              <a:r>
                <a:rPr lang="en-US" sz="800" i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 </a:t>
              </a:r>
              <a:endParaRPr lang="en-US" sz="800" i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  <a:p>
              <a:endParaRPr lang="en-US" sz="825" dirty="0">
                <a:solidFill>
                  <a:srgbClr val="C00000"/>
                </a:solidFill>
              </a:endParaRPr>
            </a:p>
          </p:txBody>
        </p:sp>
        <p:sp>
          <p:nvSpPr>
            <p:cNvPr id="94" name="Oval 93"/>
            <p:cNvSpPr/>
            <p:nvPr/>
          </p:nvSpPr>
          <p:spPr>
            <a:xfrm>
              <a:off x="5024482" y="1033709"/>
              <a:ext cx="2616819" cy="880906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>
              <a:glow rad="139700">
                <a:schemeClr val="accent2">
                  <a:satMod val="175000"/>
                  <a:alpha val="40000"/>
                </a:schemeClr>
              </a:glow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>
                <a:solidFill>
                  <a:schemeClr val="tx2">
                    <a:lumMod val="20000"/>
                    <a:lumOff val="80000"/>
                  </a:schemeClr>
                </a:solidFill>
              </a:endParaRPr>
            </a:p>
          </p:txBody>
        </p:sp>
        <p:grpSp>
          <p:nvGrpSpPr>
            <p:cNvPr id="115" name="Group 114"/>
            <p:cNvGrpSpPr/>
            <p:nvPr/>
          </p:nvGrpSpPr>
          <p:grpSpPr>
            <a:xfrm>
              <a:off x="5712422" y="1107098"/>
              <a:ext cx="1327000" cy="728454"/>
              <a:chOff x="5561590" y="1107098"/>
              <a:chExt cx="1327000" cy="728454"/>
            </a:xfrm>
          </p:grpSpPr>
          <p:pic>
            <p:nvPicPr>
              <p:cNvPr id="11" name="Picture 19" descr="C:\Users\bchurchwell\AppData\Local\Microsoft\Windows\Temporary Internet Files\Content.IE5\LU70IN3I\MP900316352[1].jpg"/>
              <p:cNvPicPr>
                <a:picLocks noChangeAspect="1" noChangeArrowheads="1"/>
              </p:cNvPicPr>
              <p:nvPr/>
            </p:nvPicPr>
            <p:blipFill rotWithShape="1"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6269851" y="1198343"/>
                <a:ext cx="618739" cy="637209"/>
              </a:xfrm>
              <a:prstGeom prst="rect">
                <a:avLst/>
              </a:prstGeom>
              <a:ln w="6350">
                <a:solidFill>
                  <a:schemeClr val="tx1">
                    <a:lumMod val="95000"/>
                    <a:lumOff val="5000"/>
                  </a:schemeClr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13" name="Picture 112"/>
              <p:cNvPicPr>
                <a:picLocks noChangeAspect="1"/>
              </p:cNvPicPr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561590" y="1107098"/>
                <a:ext cx="734550" cy="635524"/>
              </a:xfrm>
              <a:prstGeom prst="rect">
                <a:avLst/>
              </a:prstGeom>
              <a:ln w="6350">
                <a:solidFill>
                  <a:schemeClr val="tx1">
                    <a:lumMod val="95000"/>
                    <a:lumOff val="5000"/>
                  </a:schemeClr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</p:grpSp>
      <p:grpSp>
        <p:nvGrpSpPr>
          <p:cNvPr id="127" name="Group 126"/>
          <p:cNvGrpSpPr/>
          <p:nvPr/>
        </p:nvGrpSpPr>
        <p:grpSpPr>
          <a:xfrm>
            <a:off x="53304" y="2426137"/>
            <a:ext cx="2658728" cy="1443082"/>
            <a:chOff x="128720" y="2388429"/>
            <a:chExt cx="2658728" cy="1443082"/>
          </a:xfrm>
        </p:grpSpPr>
        <p:sp>
          <p:nvSpPr>
            <p:cNvPr id="47" name="TextBox 46"/>
            <p:cNvSpPr txBox="1"/>
            <p:nvPr/>
          </p:nvSpPr>
          <p:spPr>
            <a:xfrm>
              <a:off x="128720" y="3170176"/>
              <a:ext cx="2604232" cy="6613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sz="825" dirty="0" smtClean="0">
                <a:solidFill>
                  <a:srgbClr val="C00000"/>
                </a:solidFill>
              </a:endParaRPr>
            </a:p>
            <a:p>
              <a:r>
                <a:rPr lang="en-US" sz="1100" dirty="0">
                  <a:solidFill>
                    <a:srgbClr val="C00000"/>
                  </a:solidFill>
                </a:rPr>
                <a:t>Product Support Guidance </a:t>
              </a:r>
              <a:r>
                <a:rPr lang="en-US" sz="1100" dirty="0" smtClean="0">
                  <a:solidFill>
                    <a:srgbClr val="C00000"/>
                  </a:solidFill>
                </a:rPr>
                <a:t>Suite (13)</a:t>
              </a:r>
            </a:p>
            <a:p>
              <a:r>
                <a:rPr lang="en-US" sz="800" i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hlinkClick r:id="rId18"/>
                </a:rPr>
                <a:t>https://www.dau.mil/tools/p/integrated-Product-Support-Guidebook-Suite</a:t>
              </a:r>
              <a:r>
                <a:rPr lang="en-US" sz="800" i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  </a:t>
              </a:r>
            </a:p>
            <a:p>
              <a:endParaRPr lang="en-US" sz="825" dirty="0">
                <a:solidFill>
                  <a:srgbClr val="C00000"/>
                </a:solidFill>
              </a:endParaRPr>
            </a:p>
          </p:txBody>
        </p:sp>
        <p:sp>
          <p:nvSpPr>
            <p:cNvPr id="98" name="Oval 97"/>
            <p:cNvSpPr/>
            <p:nvPr/>
          </p:nvSpPr>
          <p:spPr>
            <a:xfrm>
              <a:off x="170629" y="2388429"/>
              <a:ext cx="2616819" cy="893282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>
              <a:glow rad="228600">
                <a:schemeClr val="accent1">
                  <a:satMod val="175000"/>
                  <a:alpha val="40000"/>
                </a:schemeClr>
              </a:glow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2">
                    <a:lumMod val="20000"/>
                    <a:lumOff val="80000"/>
                  </a:schemeClr>
                </a:solidFill>
              </a:endParaRPr>
            </a:p>
          </p:txBody>
        </p:sp>
        <p:grpSp>
          <p:nvGrpSpPr>
            <p:cNvPr id="126" name="Group 125"/>
            <p:cNvGrpSpPr/>
            <p:nvPr/>
          </p:nvGrpSpPr>
          <p:grpSpPr>
            <a:xfrm>
              <a:off x="744189" y="2401100"/>
              <a:ext cx="1654038" cy="841987"/>
              <a:chOff x="744189" y="2401100"/>
              <a:chExt cx="1654038" cy="841987"/>
            </a:xfrm>
          </p:grpSpPr>
          <p:grpSp>
            <p:nvGrpSpPr>
              <p:cNvPr id="77" name="Group 76"/>
              <p:cNvGrpSpPr/>
              <p:nvPr/>
            </p:nvGrpSpPr>
            <p:grpSpPr>
              <a:xfrm>
                <a:off x="744189" y="2458325"/>
                <a:ext cx="423109" cy="751043"/>
                <a:chOff x="6909744" y="1601853"/>
                <a:chExt cx="1990792" cy="3865756"/>
              </a:xfrm>
            </p:grpSpPr>
            <p:pic>
              <p:nvPicPr>
                <p:cNvPr id="78" name="Picture 77"/>
                <p:cNvPicPr>
                  <a:picLocks noChangeAspect="1"/>
                </p:cNvPicPr>
                <p:nvPr/>
              </p:nvPicPr>
              <p:blipFill>
                <a:blip r:embed="rId19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09744" y="1601853"/>
                  <a:ext cx="1990792" cy="3865756"/>
                </a:xfrm>
                <a:prstGeom prst="rect">
                  <a:avLst/>
                </a:prstGeom>
                <a:ln w="6350">
                  <a:solidFill>
                    <a:schemeClr val="tx1">
                      <a:lumMod val="95000"/>
                      <a:lumOff val="5000"/>
                    </a:schemeClr>
                  </a:solidFill>
                </a:ln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</p:spPr>
            </p:pic>
            <p:pic>
              <p:nvPicPr>
                <p:cNvPr id="79" name="Picture 78"/>
                <p:cNvPicPr>
                  <a:picLocks noChangeAspect="1"/>
                </p:cNvPicPr>
                <p:nvPr/>
              </p:nvPicPr>
              <p:blipFill>
                <a:blip r:embed="rId20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049379" y="2075173"/>
                  <a:ext cx="1656449" cy="2944801"/>
                </a:xfrm>
                <a:prstGeom prst="rect">
                  <a:avLst/>
                </a:prstGeom>
                <a:ln w="6350">
                  <a:solidFill>
                    <a:schemeClr val="tx1">
                      <a:lumMod val="95000"/>
                      <a:lumOff val="5000"/>
                    </a:schemeClr>
                  </a:solidFill>
                </a:ln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</p:spPr>
            </p:pic>
          </p:grpSp>
          <p:pic>
            <p:nvPicPr>
              <p:cNvPr id="108" name="Picture 107"/>
              <p:cNvPicPr>
                <a:picLocks noChangeAspect="1"/>
              </p:cNvPicPr>
              <p:nvPr/>
            </p:nvPicPr>
            <p:blipFill rotWithShape="1">
              <a:blip r:embed="rId2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49955" y="2401100"/>
                <a:ext cx="546457" cy="841987"/>
              </a:xfrm>
              <a:prstGeom prst="rect">
                <a:avLst/>
              </a:prstGeom>
              <a:ln w="6350">
                <a:solidFill>
                  <a:schemeClr val="tx1">
                    <a:lumMod val="95000"/>
                    <a:lumOff val="5000"/>
                  </a:schemeClr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09" name="Picture 108"/>
              <p:cNvPicPr>
                <a:picLocks noChangeAspect="1"/>
              </p:cNvPicPr>
              <p:nvPr/>
            </p:nvPicPr>
            <p:blipFill rotWithShape="1">
              <a:blip r:embed="rId2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653886" y="2531135"/>
                <a:ext cx="744341" cy="600773"/>
              </a:xfrm>
              <a:prstGeom prst="rect">
                <a:avLst/>
              </a:prstGeom>
              <a:ln w="6350">
                <a:solidFill>
                  <a:schemeClr val="tx1">
                    <a:lumMod val="95000"/>
                    <a:lumOff val="5000"/>
                  </a:schemeClr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</p:grpSp>
      <p:grpSp>
        <p:nvGrpSpPr>
          <p:cNvPr id="3" name="Group 2"/>
          <p:cNvGrpSpPr/>
          <p:nvPr/>
        </p:nvGrpSpPr>
        <p:grpSpPr>
          <a:xfrm>
            <a:off x="5849719" y="4102689"/>
            <a:ext cx="3838824" cy="1476803"/>
            <a:chOff x="5849719" y="4102689"/>
            <a:chExt cx="3838824" cy="1476803"/>
          </a:xfrm>
        </p:grpSpPr>
        <p:grpSp>
          <p:nvGrpSpPr>
            <p:cNvPr id="120" name="Group 119"/>
            <p:cNvGrpSpPr/>
            <p:nvPr/>
          </p:nvGrpSpPr>
          <p:grpSpPr>
            <a:xfrm>
              <a:off x="5849719" y="4102689"/>
              <a:ext cx="3838824" cy="1476803"/>
              <a:chOff x="5849719" y="4102689"/>
              <a:chExt cx="3838824" cy="1476803"/>
            </a:xfrm>
          </p:grpSpPr>
          <p:sp>
            <p:nvSpPr>
              <p:cNvPr id="87" name="Oval 86"/>
              <p:cNvSpPr/>
              <p:nvPr/>
            </p:nvSpPr>
            <p:spPr>
              <a:xfrm>
                <a:off x="6404799" y="4102689"/>
                <a:ext cx="2616819" cy="893282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>
                <a:glow rad="228600">
                  <a:schemeClr val="accent1">
                    <a:satMod val="175000"/>
                    <a:alpha val="40000"/>
                  </a:schemeClr>
                </a:glow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2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5849719" y="5029341"/>
                <a:ext cx="3838824" cy="5501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>
                    <a:solidFill>
                      <a:srgbClr val="C00000"/>
                    </a:solidFill>
                  </a:rPr>
                  <a:t>Product Support Communities of </a:t>
                </a:r>
                <a:r>
                  <a:rPr lang="en-US" sz="1100" dirty="0" smtClean="0">
                    <a:solidFill>
                      <a:srgbClr val="C00000"/>
                    </a:solidFill>
                  </a:rPr>
                  <a:t>Practice (3)</a:t>
                </a:r>
              </a:p>
              <a:p>
                <a:r>
                  <a:rPr lang="en-US" sz="800" i="1" dirty="0">
                    <a:solidFill>
                      <a:srgbClr val="0000FF"/>
                    </a:solidFill>
                    <a:hlinkClick r:id="rId23"/>
                  </a:rPr>
                  <a:t>https://</a:t>
                </a:r>
                <a:r>
                  <a:rPr lang="en-US" sz="800" i="1" dirty="0" smtClean="0">
                    <a:solidFill>
                      <a:srgbClr val="0000FF"/>
                    </a:solidFill>
                    <a:hlinkClick r:id=""/>
                  </a:rPr>
                  <a:t>www.dau.mil/training/career-development/</a:t>
                </a:r>
              </a:p>
              <a:p>
                <a:r>
                  <a:rPr lang="en-US" sz="800" i="1" dirty="0" smtClean="0">
                    <a:solidFill>
                      <a:srgbClr val="0000FF"/>
                    </a:solidFill>
                    <a:hlinkClick r:id=""/>
                  </a:rPr>
                  <a:t>logistics/p/Communities-of-Practice</a:t>
                </a:r>
                <a:r>
                  <a:rPr lang="en-US" sz="800" i="1" dirty="0" smtClean="0">
                    <a:solidFill>
                      <a:srgbClr val="0000FF"/>
                    </a:solidFill>
                  </a:rPr>
                  <a:t> </a:t>
                </a:r>
                <a:endParaRPr lang="en-US" sz="800" i="1" dirty="0">
                  <a:solidFill>
                    <a:srgbClr val="0000FF"/>
                  </a:solidFill>
                </a:endParaRPr>
              </a:p>
              <a:p>
                <a:r>
                  <a:rPr lang="en-US" sz="800" i="1" dirty="0">
                    <a:solidFill>
                      <a:srgbClr val="0000FF"/>
                    </a:solidFill>
                  </a:rPr>
                  <a:t> </a:t>
                </a:r>
              </a:p>
            </p:txBody>
          </p:sp>
          <p:grpSp>
            <p:nvGrpSpPr>
              <p:cNvPr id="114" name="Group 113"/>
              <p:cNvGrpSpPr/>
              <p:nvPr/>
            </p:nvGrpSpPr>
            <p:grpSpPr>
              <a:xfrm>
                <a:off x="6845524" y="4177481"/>
                <a:ext cx="1705340" cy="606077"/>
                <a:chOff x="5378312" y="5497137"/>
                <a:chExt cx="1705340" cy="606077"/>
              </a:xfrm>
            </p:grpSpPr>
            <p:pic>
              <p:nvPicPr>
                <p:cNvPr id="101" name="Picture 100"/>
                <p:cNvPicPr>
                  <a:picLocks noChangeAspect="1" noChangeArrowheads="1"/>
                </p:cNvPicPr>
                <p:nvPr/>
              </p:nvPicPr>
              <p:blipFill rotWithShape="1">
                <a:blip r:embed="rId2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5378312" y="5497137"/>
                  <a:ext cx="561236" cy="606077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102" name="Picture 101"/>
                <p:cNvPicPr>
                  <a:picLocks noChangeAspect="1"/>
                </p:cNvPicPr>
                <p:nvPr/>
              </p:nvPicPr>
              <p:blipFill rotWithShape="1">
                <a:blip r:embed="rId25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6309055" y="5542831"/>
                  <a:ext cx="774597" cy="532201"/>
                </a:xfrm>
                <a:prstGeom prst="rect">
                  <a:avLst/>
                </a:prstGeom>
                <a:ln w="6350">
                  <a:solidFill>
                    <a:schemeClr val="tx1">
                      <a:lumMod val="95000"/>
                      <a:lumOff val="5000"/>
                    </a:schemeClr>
                  </a:solidFill>
                </a:ln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</p:spPr>
            </p:pic>
          </p:grpSp>
        </p:grpSp>
        <p:pic>
          <p:nvPicPr>
            <p:cNvPr id="89" name="Picture 88"/>
            <p:cNvPicPr>
              <a:picLocks noChangeAspect="1"/>
            </p:cNvPicPr>
            <p:nvPr/>
          </p:nvPicPr>
          <p:blipFill rotWithShape="1">
            <a:blip r:embed="rId2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6230" y="4404467"/>
              <a:ext cx="825531" cy="549923"/>
            </a:xfrm>
            <a:prstGeom prst="rect">
              <a:avLst/>
            </a:prstGeom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</p:pic>
      </p:grpSp>
      <p:grpSp>
        <p:nvGrpSpPr>
          <p:cNvPr id="4" name="Group 3"/>
          <p:cNvGrpSpPr/>
          <p:nvPr/>
        </p:nvGrpSpPr>
        <p:grpSpPr>
          <a:xfrm>
            <a:off x="4905777" y="5405884"/>
            <a:ext cx="2948904" cy="1345276"/>
            <a:chOff x="4905777" y="5405884"/>
            <a:chExt cx="2948904" cy="1345276"/>
          </a:xfrm>
        </p:grpSpPr>
        <p:grpSp>
          <p:nvGrpSpPr>
            <p:cNvPr id="121" name="Group 120"/>
            <p:cNvGrpSpPr/>
            <p:nvPr/>
          </p:nvGrpSpPr>
          <p:grpSpPr>
            <a:xfrm>
              <a:off x="4905777" y="5405884"/>
              <a:ext cx="2948904" cy="1345276"/>
              <a:chOff x="4905777" y="5405884"/>
              <a:chExt cx="2948904" cy="1345276"/>
            </a:xfrm>
          </p:grpSpPr>
          <p:sp>
            <p:nvSpPr>
              <p:cNvPr id="41" name="TextBox 40"/>
              <p:cNvSpPr txBox="1"/>
              <p:nvPr/>
            </p:nvSpPr>
            <p:spPr>
              <a:xfrm>
                <a:off x="5006065" y="6302383"/>
                <a:ext cx="2848616" cy="448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 smtClean="0">
                    <a:solidFill>
                      <a:srgbClr val="C00000"/>
                    </a:solidFill>
                  </a:rPr>
                  <a:t>Product Support Articles (41) &amp; Blogs (1,500+)</a:t>
                </a:r>
              </a:p>
              <a:p>
                <a:r>
                  <a:rPr lang="en-US" sz="800" i="1" dirty="0">
                    <a:solidFill>
                      <a:srgbClr val="0000FF"/>
                    </a:solidFill>
                    <a:hlinkClick r:id="rId27"/>
                  </a:rPr>
                  <a:t>https://go.usa.gov/xXaF4</a:t>
                </a:r>
                <a:r>
                  <a:rPr lang="en-US" sz="800" i="1" dirty="0">
                    <a:solidFill>
                      <a:srgbClr val="0000FF"/>
                    </a:solidFill>
                  </a:rPr>
                  <a:t> </a:t>
                </a:r>
              </a:p>
              <a:p>
                <a:endParaRPr lang="en-US" sz="825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92" name="Oval 91"/>
              <p:cNvSpPr/>
              <p:nvPr/>
            </p:nvSpPr>
            <p:spPr>
              <a:xfrm>
                <a:off x="4905777" y="5405884"/>
                <a:ext cx="2616819" cy="893282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>
                <a:glow rad="228600">
                  <a:schemeClr val="accent1">
                    <a:satMod val="175000"/>
                    <a:alpha val="40000"/>
                  </a:schemeClr>
                </a:glow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2">
                      <a:lumMod val="20000"/>
                      <a:lumOff val="80000"/>
                    </a:schemeClr>
                  </a:solidFill>
                </a:endParaRPr>
              </a:p>
            </p:txBody>
          </p:sp>
          <p:pic>
            <p:nvPicPr>
              <p:cNvPr id="73" name="Picture 72"/>
              <p:cNvPicPr>
                <a:picLocks noChangeAspect="1"/>
              </p:cNvPicPr>
              <p:nvPr/>
            </p:nvPicPr>
            <p:blipFill>
              <a:blip r:embed="rId2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637123" y="5434917"/>
                <a:ext cx="773803" cy="619835"/>
              </a:xfrm>
              <a:prstGeom prst="rect">
                <a:avLst/>
              </a:prstGeom>
              <a:ln w="6350">
                <a:solidFill>
                  <a:schemeClr val="tx1">
                    <a:lumMod val="95000"/>
                    <a:lumOff val="5000"/>
                  </a:schemeClr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  <p:pic>
          <p:nvPicPr>
            <p:cNvPr id="90" name="Picture 89"/>
            <p:cNvPicPr>
              <a:picLocks noChangeAspect="1"/>
            </p:cNvPicPr>
            <p:nvPr/>
          </p:nvPicPr>
          <p:blipFill>
            <a:blip r:embed="rId2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11649" y="5573847"/>
              <a:ext cx="494503" cy="664489"/>
            </a:xfrm>
            <a:prstGeom prst="rect">
              <a:avLst/>
            </a:prstGeom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050749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20184" y="803018"/>
            <a:ext cx="8843047" cy="5854525"/>
            <a:chOff x="120184" y="761978"/>
            <a:chExt cx="8843047" cy="5854525"/>
          </a:xfrm>
        </p:grpSpPr>
        <p:grpSp>
          <p:nvGrpSpPr>
            <p:cNvPr id="51" name="Group 50"/>
            <p:cNvGrpSpPr/>
            <p:nvPr/>
          </p:nvGrpSpPr>
          <p:grpSpPr>
            <a:xfrm>
              <a:off x="120184" y="761978"/>
              <a:ext cx="8843047" cy="5854525"/>
              <a:chOff x="120182" y="1056300"/>
              <a:chExt cx="8843047" cy="5854525"/>
            </a:xfrm>
          </p:grpSpPr>
          <p:sp>
            <p:nvSpPr>
              <p:cNvPr id="52" name="Rectangle 7"/>
              <p:cNvSpPr>
                <a:spLocks noChangeArrowheads="1"/>
              </p:cNvSpPr>
              <p:nvPr/>
            </p:nvSpPr>
            <p:spPr bwMode="auto">
              <a:xfrm>
                <a:off x="6636957" y="1088091"/>
                <a:ext cx="2326272" cy="5309956"/>
              </a:xfrm>
              <a:prstGeom prst="rect">
                <a:avLst/>
              </a:prstGeom>
              <a:solidFill>
                <a:srgbClr val="FFFFFF"/>
              </a:solidFill>
              <a:ln w="317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lIns="45653" tIns="45653" rIns="45653" bIns="45653" anchor="ctr"/>
              <a:lstStyle/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3" name="Rectangle 8"/>
              <p:cNvSpPr>
                <a:spLocks noChangeArrowheads="1"/>
              </p:cNvSpPr>
              <p:nvPr/>
            </p:nvSpPr>
            <p:spPr bwMode="auto">
              <a:xfrm>
                <a:off x="2800350" y="1111588"/>
                <a:ext cx="3643306" cy="5288254"/>
              </a:xfrm>
              <a:prstGeom prst="rect">
                <a:avLst/>
              </a:prstGeom>
              <a:solidFill>
                <a:srgbClr val="FFFFFF"/>
              </a:solidFill>
              <a:ln w="317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lIns="45653" tIns="45653" rIns="45653" bIns="45653" anchor="ctr"/>
              <a:lstStyle/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CON </a:t>
                </a:r>
                <a:endPara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4" name="Text Box 9"/>
              <p:cNvSpPr txBox="1">
                <a:spLocks noChangeArrowheads="1"/>
              </p:cNvSpPr>
              <p:nvPr/>
            </p:nvSpPr>
            <p:spPr bwMode="auto">
              <a:xfrm>
                <a:off x="7008064" y="6192917"/>
                <a:ext cx="1441450" cy="2230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 Case/scenario based</a:t>
                </a:r>
              </a:p>
            </p:txBody>
          </p:sp>
          <p:sp>
            <p:nvSpPr>
              <p:cNvPr id="55" name="Text Box 10"/>
              <p:cNvSpPr txBox="1">
                <a:spLocks noChangeArrowheads="1"/>
              </p:cNvSpPr>
              <p:nvPr/>
            </p:nvSpPr>
            <p:spPr bwMode="auto">
              <a:xfrm>
                <a:off x="3958954" y="6192917"/>
                <a:ext cx="1590675" cy="2230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 Application/case based</a:t>
                </a:r>
              </a:p>
            </p:txBody>
          </p:sp>
          <p:sp>
            <p:nvSpPr>
              <p:cNvPr id="56" name="Text Box 11"/>
              <p:cNvSpPr txBox="1">
                <a:spLocks noChangeArrowheads="1"/>
              </p:cNvSpPr>
              <p:nvPr/>
            </p:nvSpPr>
            <p:spPr bwMode="auto">
              <a:xfrm>
                <a:off x="3551846" y="1101490"/>
                <a:ext cx="2046288" cy="3014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sng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evel II Certification</a:t>
                </a:r>
              </a:p>
            </p:txBody>
          </p:sp>
          <p:sp>
            <p:nvSpPr>
              <p:cNvPr id="57" name="Text Box 12"/>
              <p:cNvSpPr txBox="1">
                <a:spLocks noChangeArrowheads="1"/>
              </p:cNvSpPr>
              <p:nvPr/>
            </p:nvSpPr>
            <p:spPr bwMode="auto">
              <a:xfrm>
                <a:off x="6657229" y="1139590"/>
                <a:ext cx="2143125" cy="3014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sng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evel III Certification</a:t>
                </a:r>
              </a:p>
            </p:txBody>
          </p:sp>
          <p:sp>
            <p:nvSpPr>
              <p:cNvPr id="58" name="Text Box 14"/>
              <p:cNvSpPr txBox="1">
                <a:spLocks noChangeArrowheads="1"/>
              </p:cNvSpPr>
              <p:nvPr/>
            </p:nvSpPr>
            <p:spPr bwMode="auto">
              <a:xfrm>
                <a:off x="3026086" y="3161435"/>
                <a:ext cx="1371600" cy="667740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OG 206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Intermediate Systems Sustainment Management</a:t>
                </a:r>
              </a:p>
            </p:txBody>
          </p:sp>
          <p:sp>
            <p:nvSpPr>
              <p:cNvPr id="59" name="Text Box 15"/>
              <p:cNvSpPr txBox="1">
                <a:spLocks noChangeArrowheads="1"/>
              </p:cNvSpPr>
              <p:nvPr/>
            </p:nvSpPr>
            <p:spPr bwMode="auto">
              <a:xfrm>
                <a:off x="6876669" y="1536501"/>
                <a:ext cx="1595718" cy="406130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OG 340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Life Cycle Product Support </a:t>
                </a:r>
              </a:p>
            </p:txBody>
          </p:sp>
          <p:sp>
            <p:nvSpPr>
              <p:cNvPr id="60" name="Rectangle 18"/>
              <p:cNvSpPr>
                <a:spLocks noChangeArrowheads="1"/>
              </p:cNvSpPr>
              <p:nvPr/>
            </p:nvSpPr>
            <p:spPr bwMode="auto">
              <a:xfrm>
                <a:off x="120182" y="1056300"/>
                <a:ext cx="2468880" cy="5286218"/>
              </a:xfrm>
              <a:prstGeom prst="rect">
                <a:avLst/>
              </a:prstGeom>
              <a:solidFill>
                <a:srgbClr val="FFFFFF"/>
              </a:solidFill>
              <a:ln w="3175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lIns="45653" tIns="45653" rIns="45653" bIns="45653" anchor="ctr"/>
              <a:lstStyle/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1" name="Text Box 19"/>
              <p:cNvSpPr txBox="1">
                <a:spLocks noChangeArrowheads="1"/>
              </p:cNvSpPr>
              <p:nvPr/>
            </p:nvSpPr>
            <p:spPr bwMode="auto">
              <a:xfrm>
                <a:off x="331478" y="1111013"/>
                <a:ext cx="2046288" cy="3014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sng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evel I  Certification</a:t>
                </a:r>
              </a:p>
            </p:txBody>
          </p:sp>
          <p:sp>
            <p:nvSpPr>
              <p:cNvPr id="62" name="Text Box 21"/>
              <p:cNvSpPr txBox="1">
                <a:spLocks noChangeArrowheads="1"/>
              </p:cNvSpPr>
              <p:nvPr/>
            </p:nvSpPr>
            <p:spPr bwMode="auto">
              <a:xfrm>
                <a:off x="610762" y="2199463"/>
                <a:ext cx="1449504" cy="536935"/>
              </a:xfrm>
              <a:prstGeom prst="rect">
                <a:avLst/>
              </a:prstGeom>
              <a:solidFill>
                <a:srgbClr val="0000FF"/>
              </a:solidFill>
              <a:ln w="9525">
                <a:noFill/>
                <a:miter lim="800000"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ENG 101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Fundamentals of Systems Engineering</a:t>
                </a:r>
              </a:p>
            </p:txBody>
          </p:sp>
          <p:sp>
            <p:nvSpPr>
              <p:cNvPr id="63" name="Text Box 22"/>
              <p:cNvSpPr txBox="1">
                <a:spLocks noChangeArrowheads="1"/>
              </p:cNvSpPr>
              <p:nvPr/>
            </p:nvSpPr>
            <p:spPr bwMode="auto">
              <a:xfrm>
                <a:off x="725178" y="6177227"/>
                <a:ext cx="1258888" cy="2230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 Knowledge based</a:t>
                </a:r>
              </a:p>
            </p:txBody>
          </p:sp>
          <p:sp>
            <p:nvSpPr>
              <p:cNvPr id="64" name="Text Box 23"/>
              <p:cNvSpPr txBox="1">
                <a:spLocks noChangeArrowheads="1"/>
              </p:cNvSpPr>
              <p:nvPr/>
            </p:nvSpPr>
            <p:spPr bwMode="auto">
              <a:xfrm>
                <a:off x="752964" y="4881731"/>
                <a:ext cx="1203325" cy="2360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2 </a:t>
                </a:r>
                <a:r>
                  <a:rPr kumimoji="0" lang="en-US" sz="1100" b="1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hrs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, online</a:t>
                </a:r>
              </a:p>
            </p:txBody>
          </p:sp>
          <p:sp>
            <p:nvSpPr>
              <p:cNvPr id="65" name="Text Box 26"/>
              <p:cNvSpPr txBox="1">
                <a:spLocks noChangeArrowheads="1"/>
              </p:cNvSpPr>
              <p:nvPr/>
            </p:nvSpPr>
            <p:spPr bwMode="auto">
              <a:xfrm>
                <a:off x="3272151" y="2857269"/>
                <a:ext cx="879475" cy="2360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2 </a:t>
                </a:r>
                <a:r>
                  <a:rPr kumimoji="0" lang="en-US" sz="1100" b="1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hrs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, online</a:t>
                </a:r>
              </a:p>
            </p:txBody>
          </p:sp>
          <p:sp>
            <p:nvSpPr>
              <p:cNvPr id="66" name="Text Box 29"/>
              <p:cNvSpPr txBox="1">
                <a:spLocks noChangeArrowheads="1"/>
              </p:cNvSpPr>
              <p:nvPr/>
            </p:nvSpPr>
            <p:spPr bwMode="auto">
              <a:xfrm>
                <a:off x="7036411" y="1946076"/>
                <a:ext cx="1273175" cy="2360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4.5 </a:t>
                </a:r>
                <a:r>
                  <a:rPr kumimoji="0" lang="en-US" sz="11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ays,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lassroom</a:t>
                </a:r>
              </a:p>
            </p:txBody>
          </p:sp>
          <p:sp>
            <p:nvSpPr>
              <p:cNvPr id="67" name="Text Box 32"/>
              <p:cNvSpPr txBox="1">
                <a:spLocks noChangeArrowheads="1"/>
              </p:cNvSpPr>
              <p:nvPr/>
            </p:nvSpPr>
            <p:spPr bwMode="auto">
              <a:xfrm>
                <a:off x="4742656" y="3222745"/>
                <a:ext cx="1371600" cy="536935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OG 235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Performance-Based Logistics</a:t>
                </a:r>
              </a:p>
            </p:txBody>
          </p:sp>
          <p:sp>
            <p:nvSpPr>
              <p:cNvPr id="68" name="Text Box 43"/>
              <p:cNvSpPr txBox="1">
                <a:spLocks noChangeArrowheads="1"/>
              </p:cNvSpPr>
              <p:nvPr/>
            </p:nvSpPr>
            <p:spPr bwMode="auto">
              <a:xfrm>
                <a:off x="4802342" y="3765991"/>
                <a:ext cx="1252230" cy="2360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16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hrs, online</a:t>
                </a:r>
              </a:p>
            </p:txBody>
          </p:sp>
          <p:sp>
            <p:nvSpPr>
              <p:cNvPr id="69" name="Text Box 51"/>
              <p:cNvSpPr txBox="1">
                <a:spLocks noChangeArrowheads="1"/>
              </p:cNvSpPr>
              <p:nvPr/>
            </p:nvSpPr>
            <p:spPr bwMode="auto">
              <a:xfrm>
                <a:off x="592622" y="5674008"/>
                <a:ext cx="1542140" cy="536935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wrap="square" lIns="45653" tIns="45653" rIns="45653" bIns="45653">
                <a:spAutoFit/>
              </a:bodyPr>
              <a:lstStyle/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LL 011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Performance Based Life Cycle Product Support (PBL)</a:t>
                </a:r>
              </a:p>
            </p:txBody>
          </p:sp>
          <p:sp>
            <p:nvSpPr>
              <p:cNvPr id="70" name="Text Box 21"/>
              <p:cNvSpPr txBox="1">
                <a:spLocks noChangeArrowheads="1"/>
              </p:cNvSpPr>
              <p:nvPr/>
            </p:nvSpPr>
            <p:spPr bwMode="auto">
              <a:xfrm>
                <a:off x="592622" y="2913801"/>
                <a:ext cx="1524000" cy="536935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OG </a:t>
                </a:r>
                <a:r>
                  <a:rPr kumimoji="0" lang="en-US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100</a:t>
                </a: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Life Cycle Logistics </a:t>
                </a: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Fundamentals</a:t>
                </a:r>
              </a:p>
            </p:txBody>
          </p:sp>
          <p:sp>
            <p:nvSpPr>
              <p:cNvPr id="71" name="Text Box 65"/>
              <p:cNvSpPr txBox="1">
                <a:spLocks noChangeArrowheads="1"/>
              </p:cNvSpPr>
              <p:nvPr/>
            </p:nvSpPr>
            <p:spPr bwMode="auto">
              <a:xfrm>
                <a:off x="592622" y="4360662"/>
                <a:ext cx="1524000" cy="536935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OG 103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Reliability, Availability and Maintainability (RAM)</a:t>
                </a:r>
              </a:p>
            </p:txBody>
          </p:sp>
          <p:sp>
            <p:nvSpPr>
              <p:cNvPr id="72" name="Text Box 23"/>
              <p:cNvSpPr txBox="1">
                <a:spLocks noChangeArrowheads="1"/>
              </p:cNvSpPr>
              <p:nvPr/>
            </p:nvSpPr>
            <p:spPr bwMode="auto">
              <a:xfrm>
                <a:off x="859322" y="3421277"/>
                <a:ext cx="990600" cy="2360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7 hrs, online</a:t>
                </a:r>
              </a:p>
            </p:txBody>
          </p:sp>
          <p:sp>
            <p:nvSpPr>
              <p:cNvPr id="73" name="Text Box 25"/>
              <p:cNvSpPr txBox="1">
                <a:spLocks noChangeArrowheads="1"/>
              </p:cNvSpPr>
              <p:nvPr/>
            </p:nvSpPr>
            <p:spPr bwMode="auto">
              <a:xfrm>
                <a:off x="3026086" y="2351575"/>
                <a:ext cx="1371600" cy="536935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OG 200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Product Support Strategy Development, Part A</a:t>
                </a:r>
              </a:p>
            </p:txBody>
          </p:sp>
          <p:sp>
            <p:nvSpPr>
              <p:cNvPr id="74" name="Text Box 25"/>
              <p:cNvSpPr txBox="1">
                <a:spLocks noChangeArrowheads="1"/>
              </p:cNvSpPr>
              <p:nvPr/>
            </p:nvSpPr>
            <p:spPr bwMode="auto">
              <a:xfrm>
                <a:off x="4742656" y="2351575"/>
                <a:ext cx="1371600" cy="536935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OG 201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Product Support Strategy Development, Part B </a:t>
                </a:r>
              </a:p>
            </p:txBody>
          </p:sp>
          <p:sp>
            <p:nvSpPr>
              <p:cNvPr id="75" name="Text Box 26"/>
              <p:cNvSpPr txBox="1">
                <a:spLocks noChangeArrowheads="1"/>
              </p:cNvSpPr>
              <p:nvPr/>
            </p:nvSpPr>
            <p:spPr bwMode="auto">
              <a:xfrm>
                <a:off x="4876800" y="2857269"/>
                <a:ext cx="1237456" cy="2360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4.5 </a:t>
                </a:r>
                <a:r>
                  <a:rPr kumimoji="0" lang="en-US" sz="11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ays,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lassroom</a:t>
                </a:r>
              </a:p>
            </p:txBody>
          </p:sp>
          <p:sp>
            <p:nvSpPr>
              <p:cNvPr id="76" name="Text Box 26"/>
              <p:cNvSpPr txBox="1">
                <a:spLocks noChangeArrowheads="1"/>
              </p:cNvSpPr>
              <p:nvPr/>
            </p:nvSpPr>
            <p:spPr bwMode="auto">
              <a:xfrm>
                <a:off x="3084038" y="3818539"/>
                <a:ext cx="1255713" cy="2360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7 </a:t>
                </a:r>
                <a:r>
                  <a:rPr kumimoji="0" lang="en-US" sz="1100" b="1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hrs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, online</a:t>
                </a:r>
              </a:p>
            </p:txBody>
          </p:sp>
          <p:sp>
            <p:nvSpPr>
              <p:cNvPr id="77" name="Text Box 20"/>
              <p:cNvSpPr txBox="1">
                <a:spLocks noChangeArrowheads="1"/>
              </p:cNvSpPr>
              <p:nvPr/>
            </p:nvSpPr>
            <p:spPr bwMode="auto">
              <a:xfrm>
                <a:off x="3272434" y="2010768"/>
                <a:ext cx="949325" cy="2360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35 </a:t>
                </a:r>
                <a:r>
                  <a:rPr kumimoji="0" lang="en-US" sz="1100" b="1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hrs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, online</a:t>
                </a:r>
              </a:p>
            </p:txBody>
          </p:sp>
          <p:sp>
            <p:nvSpPr>
              <p:cNvPr id="78" name="Text Box 20" hidden="1"/>
              <p:cNvSpPr txBox="1">
                <a:spLocks noChangeArrowheads="1"/>
              </p:cNvSpPr>
              <p:nvPr/>
            </p:nvSpPr>
            <p:spPr bwMode="auto">
              <a:xfrm>
                <a:off x="668028" y="1954485"/>
                <a:ext cx="1373188" cy="2360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5 hrs, online</a:t>
                </a:r>
              </a:p>
            </p:txBody>
          </p:sp>
          <p:sp>
            <p:nvSpPr>
              <p:cNvPr id="79" name="Text Box 21"/>
              <p:cNvSpPr txBox="1">
                <a:spLocks noChangeArrowheads="1"/>
              </p:cNvSpPr>
              <p:nvPr/>
            </p:nvSpPr>
            <p:spPr bwMode="auto">
              <a:xfrm>
                <a:off x="464202" y="1431624"/>
                <a:ext cx="1780849" cy="536935"/>
              </a:xfrm>
              <a:prstGeom prst="rect">
                <a:avLst/>
              </a:prstGeom>
              <a:solidFill>
                <a:srgbClr val="3333FF"/>
              </a:solidFill>
              <a:ln w="9525">
                <a:noFill/>
                <a:miter lim="800000"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ACQ 101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Fundamentals of Systems Acquisition Management</a:t>
                </a: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0" name="Text Box 63"/>
              <p:cNvSpPr txBox="1">
                <a:spLocks noChangeArrowheads="1"/>
              </p:cNvSpPr>
              <p:nvPr/>
            </p:nvSpPr>
            <p:spPr bwMode="auto">
              <a:xfrm>
                <a:off x="6728667" y="4991377"/>
                <a:ext cx="2121739" cy="1047074"/>
              </a:xfrm>
              <a:prstGeom prst="rect">
                <a:avLst/>
              </a:prstGeom>
              <a:solidFill>
                <a:srgbClr val="0000FF"/>
              </a:solidFill>
              <a:ln w="38100">
                <a:noFill/>
                <a:miter lim="800000"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wrap="square" lIns="45653" tIns="45653" rIns="45653" bIns="45653">
                <a:spAutoFit/>
              </a:bodyPr>
              <a:lstStyle/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Choice of: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  <a:p>
                <a:pPr marL="115714" marR="0" lvl="0" indent="-115714" algn="l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LOG 211 – Supportability Analysis </a:t>
                </a:r>
                <a:r>
                  <a:rPr kumimoji="0" lang="en-US" sz="1000" b="1" i="0" u="sng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OR</a:t>
                </a:r>
              </a:p>
              <a:p>
                <a:pPr marL="115714" marR="0" lvl="0" indent="-115714" algn="l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BCF </a:t>
                </a:r>
                <a:r>
                  <a:rPr kumimoji="0" lang="en-US" sz="1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216 </a:t>
                </a: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– O&amp;S Cost Analysis </a:t>
                </a:r>
                <a:r>
                  <a:rPr kumimoji="0" lang="en-US" sz="1000" b="1" i="0" u="sng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OR</a:t>
                </a:r>
              </a:p>
              <a:p>
                <a:pPr marL="115714" marR="0" lvl="0" indent="-115714" algn="l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ACQ 265 – Services Acquisition </a:t>
                </a:r>
                <a:r>
                  <a:rPr kumimoji="0" lang="en-US" sz="1000" b="1" i="0" u="sng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OR</a:t>
                </a:r>
              </a:p>
              <a:p>
                <a:pPr marL="115714" marR="0" lvl="0" indent="-115714" algn="l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ACQ 315 – </a:t>
                </a:r>
                <a:r>
                  <a: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Understanding Industry (Business Acumen)</a:t>
                </a:r>
              </a:p>
            </p:txBody>
          </p:sp>
          <p:sp>
            <p:nvSpPr>
              <p:cNvPr id="81" name="Text Box 63"/>
              <p:cNvSpPr txBox="1">
                <a:spLocks noChangeArrowheads="1"/>
              </p:cNvSpPr>
              <p:nvPr/>
            </p:nvSpPr>
            <p:spPr bwMode="auto">
              <a:xfrm>
                <a:off x="3056330" y="4095047"/>
                <a:ext cx="1221253" cy="536935"/>
              </a:xfrm>
              <a:prstGeom prst="rect">
                <a:avLst/>
              </a:prstGeom>
              <a:solidFill>
                <a:srgbClr val="FFFFFF"/>
              </a:solidFill>
              <a:ln w="28575">
                <a:solidFill>
                  <a:sysClr val="window" lastClr="FFFFFF">
                    <a:lumMod val="65000"/>
                  </a:sysClr>
                </a:solidFill>
                <a:miter lim="800000"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LL 001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Life Cycle Mgt &amp; Sustainment Metrics</a:t>
                </a:r>
              </a:p>
            </p:txBody>
          </p:sp>
          <p:sp>
            <p:nvSpPr>
              <p:cNvPr id="82" name="Text Box 63"/>
              <p:cNvSpPr txBox="1">
                <a:spLocks noChangeArrowheads="1"/>
              </p:cNvSpPr>
              <p:nvPr/>
            </p:nvSpPr>
            <p:spPr bwMode="auto">
              <a:xfrm>
                <a:off x="3056329" y="5581346"/>
                <a:ext cx="1221253" cy="536935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wrap="square" lIns="45653" tIns="45653" rIns="45653" bIns="45653">
                <a:spAutoFit/>
              </a:bodyPr>
              <a:lstStyle/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LL 012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Supportability Analysis</a:t>
                </a:r>
              </a:p>
            </p:txBody>
          </p:sp>
          <p:sp>
            <p:nvSpPr>
              <p:cNvPr id="83" name="TextBox 82"/>
              <p:cNvSpPr txBox="1"/>
              <p:nvPr/>
            </p:nvSpPr>
            <p:spPr>
              <a:xfrm>
                <a:off x="120182" y="6583178"/>
                <a:ext cx="2468880" cy="327647"/>
              </a:xfrm>
              <a:prstGeom prst="rect">
                <a:avLst/>
              </a:prstGeom>
              <a:noFill/>
            </p:spPr>
            <p:txBody>
              <a:bodyPr wrap="square" lIns="91302" tIns="45653" rIns="91302" bIns="45653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1 Year Experience</a:t>
                </a:r>
                <a:endPara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TextBox 83"/>
              <p:cNvSpPr txBox="1"/>
              <p:nvPr/>
            </p:nvSpPr>
            <p:spPr>
              <a:xfrm>
                <a:off x="6494349" y="6572350"/>
                <a:ext cx="2468880" cy="327647"/>
              </a:xfrm>
              <a:prstGeom prst="rect">
                <a:avLst/>
              </a:prstGeom>
              <a:noFill/>
            </p:spPr>
            <p:txBody>
              <a:bodyPr wrap="square" lIns="91302" tIns="45653" rIns="91302" bIns="45653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4 Years Experience</a:t>
                </a:r>
                <a:endPara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TextBox 84"/>
              <p:cNvSpPr txBox="1"/>
              <p:nvPr/>
            </p:nvSpPr>
            <p:spPr>
              <a:xfrm>
                <a:off x="3421945" y="6581190"/>
                <a:ext cx="2468880" cy="327647"/>
              </a:xfrm>
              <a:prstGeom prst="rect">
                <a:avLst/>
              </a:prstGeom>
              <a:noFill/>
            </p:spPr>
            <p:txBody>
              <a:bodyPr wrap="square" lIns="91302" tIns="45653" rIns="91302" bIns="45653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2 Years Experience</a:t>
                </a:r>
                <a:endPara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Text Box 21"/>
              <p:cNvSpPr txBox="1">
                <a:spLocks noChangeArrowheads="1"/>
              </p:cNvSpPr>
              <p:nvPr/>
            </p:nvSpPr>
            <p:spPr bwMode="auto">
              <a:xfrm>
                <a:off x="610762" y="3647061"/>
                <a:ext cx="1524000" cy="536935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OG 102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Fundamentals of System Sustainment Management</a:t>
                </a:r>
              </a:p>
            </p:txBody>
          </p:sp>
          <p:sp>
            <p:nvSpPr>
              <p:cNvPr id="87" name="Text Box 23"/>
              <p:cNvSpPr txBox="1">
                <a:spLocks noChangeArrowheads="1"/>
              </p:cNvSpPr>
              <p:nvPr/>
            </p:nvSpPr>
            <p:spPr bwMode="auto">
              <a:xfrm>
                <a:off x="848210" y="4144684"/>
                <a:ext cx="990600" cy="2360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5 hrs, online</a:t>
                </a:r>
              </a:p>
            </p:txBody>
          </p:sp>
          <p:sp>
            <p:nvSpPr>
              <p:cNvPr id="88" name="Text Box 21"/>
              <p:cNvSpPr txBox="1">
                <a:spLocks noChangeArrowheads="1"/>
              </p:cNvSpPr>
              <p:nvPr/>
            </p:nvSpPr>
            <p:spPr bwMode="auto">
              <a:xfrm>
                <a:off x="592622" y="5060883"/>
                <a:ext cx="1524000" cy="536935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wrap="square" lIns="45653" tIns="45653" rIns="45653" bIns="45653">
                <a:spAutoFit/>
              </a:bodyPr>
              <a:lstStyle/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LL 008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Designing for Supportability in DoD Systems</a:t>
                </a:r>
              </a:p>
            </p:txBody>
          </p:sp>
          <p:sp>
            <p:nvSpPr>
              <p:cNvPr id="89" name="Text Box 20"/>
              <p:cNvSpPr txBox="1">
                <a:spLocks noChangeArrowheads="1"/>
              </p:cNvSpPr>
              <p:nvPr/>
            </p:nvSpPr>
            <p:spPr bwMode="auto">
              <a:xfrm>
                <a:off x="4802342" y="2011714"/>
                <a:ext cx="1252230" cy="2360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4.5 </a:t>
                </a:r>
                <a:r>
                  <a:rPr kumimoji="0" lang="en-US" sz="11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ays,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lassroom</a:t>
                </a:r>
              </a:p>
            </p:txBody>
          </p:sp>
          <p:sp>
            <p:nvSpPr>
              <p:cNvPr id="90" name="Text Box 15"/>
              <p:cNvSpPr txBox="1">
                <a:spLocks noChangeArrowheads="1"/>
              </p:cNvSpPr>
              <p:nvPr/>
            </p:nvSpPr>
            <p:spPr bwMode="auto">
              <a:xfrm>
                <a:off x="6903150" y="2328828"/>
                <a:ext cx="1595718" cy="536935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OG 350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Enterprise Life Cycle Logistics Management </a:t>
                </a:r>
              </a:p>
            </p:txBody>
          </p:sp>
          <p:sp>
            <p:nvSpPr>
              <p:cNvPr id="91" name="Text Box 63"/>
              <p:cNvSpPr txBox="1">
                <a:spLocks noChangeArrowheads="1"/>
              </p:cNvSpPr>
              <p:nvPr/>
            </p:nvSpPr>
            <p:spPr bwMode="auto">
              <a:xfrm>
                <a:off x="7015671" y="3085835"/>
                <a:ext cx="1436134" cy="536935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wrap="square" lIns="45653" tIns="45653" rIns="45653" bIns="45653">
                <a:spAutoFit/>
              </a:bodyPr>
              <a:lstStyle/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LL 005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Developing a Life Cycle Sustainment Plan (LCSP)</a:t>
                </a:r>
              </a:p>
            </p:txBody>
          </p:sp>
          <p:sp>
            <p:nvSpPr>
              <p:cNvPr id="92" name="Text Box 63"/>
              <p:cNvSpPr txBox="1">
                <a:spLocks noChangeArrowheads="1"/>
              </p:cNvSpPr>
              <p:nvPr/>
            </p:nvSpPr>
            <p:spPr bwMode="auto">
              <a:xfrm>
                <a:off x="7027114" y="3718299"/>
                <a:ext cx="1436134" cy="536935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wrap="square" lIns="45653" tIns="45653" rIns="45653" bIns="45653">
                <a:spAutoFit/>
              </a:bodyPr>
              <a:lstStyle/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LL 015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Product Support Business Case Analysis (BCA)</a:t>
                </a:r>
              </a:p>
            </p:txBody>
          </p:sp>
          <p:sp>
            <p:nvSpPr>
              <p:cNvPr id="93" name="Text Box 63"/>
              <p:cNvSpPr txBox="1">
                <a:spLocks noChangeArrowheads="1"/>
              </p:cNvSpPr>
              <p:nvPr/>
            </p:nvSpPr>
            <p:spPr bwMode="auto">
              <a:xfrm>
                <a:off x="7036639" y="4364891"/>
                <a:ext cx="1436134" cy="536935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wrap="square" lIns="45653" tIns="45653" rIns="45653" bIns="45653">
                <a:spAutoFit/>
              </a:bodyPr>
              <a:lstStyle/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LL 020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Independent Logistics Assessments</a:t>
                </a:r>
              </a:p>
            </p:txBody>
          </p:sp>
          <p:sp>
            <p:nvSpPr>
              <p:cNvPr id="94" name="Text Box 29"/>
              <p:cNvSpPr txBox="1">
                <a:spLocks noChangeArrowheads="1"/>
              </p:cNvSpPr>
              <p:nvPr/>
            </p:nvSpPr>
            <p:spPr bwMode="auto">
              <a:xfrm>
                <a:off x="7064986" y="2834411"/>
                <a:ext cx="1273175" cy="2360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9.5 </a:t>
                </a:r>
                <a:r>
                  <a:rPr kumimoji="0" lang="en-US" sz="11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ays,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lassroom</a:t>
                </a:r>
              </a:p>
            </p:txBody>
          </p:sp>
          <p:sp>
            <p:nvSpPr>
              <p:cNvPr id="95" name="Text Box 63"/>
              <p:cNvSpPr txBox="1">
                <a:spLocks noChangeArrowheads="1"/>
              </p:cNvSpPr>
              <p:nvPr/>
            </p:nvSpPr>
            <p:spPr bwMode="auto">
              <a:xfrm>
                <a:off x="3056329" y="4835507"/>
                <a:ext cx="1221253" cy="536935"/>
              </a:xfrm>
              <a:prstGeom prst="rect">
                <a:avLst/>
              </a:prstGeom>
              <a:solidFill>
                <a:srgbClr val="FFFFFF"/>
              </a:solidFill>
              <a:ln w="19050">
                <a:solidFill>
                  <a:sysClr val="windowText" lastClr="000000"/>
                </a:solidFill>
                <a:miter lim="800000"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45653" tIns="45653" rIns="45653" bIns="45653">
                <a:spAutoFit/>
              </a:bodyPr>
              <a:lstStyle/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LC 011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ontracting for the Rest of Us</a:t>
                </a:r>
              </a:p>
            </p:txBody>
          </p:sp>
          <p:sp>
            <p:nvSpPr>
              <p:cNvPr id="96" name="Text Box 63"/>
              <p:cNvSpPr txBox="1">
                <a:spLocks noChangeArrowheads="1"/>
              </p:cNvSpPr>
              <p:nvPr/>
            </p:nvSpPr>
            <p:spPr bwMode="auto">
              <a:xfrm>
                <a:off x="4418720" y="4793798"/>
                <a:ext cx="1965681" cy="1204040"/>
              </a:xfrm>
              <a:prstGeom prst="rect">
                <a:avLst/>
              </a:prstGeom>
              <a:solidFill>
                <a:srgbClr val="0000FF"/>
              </a:solidFill>
              <a:ln w="38100">
                <a:noFill/>
                <a:miter lim="800000"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wrap="square" lIns="45653" tIns="45653" rIns="45653" bIns="45653">
                <a:spAutoFit/>
              </a:bodyPr>
              <a:lstStyle/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Choice of:</a:t>
                </a:r>
              </a:p>
              <a:p>
                <a:pPr marL="0" marR="0" lvl="0" indent="0" algn="ctr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  <a:p>
                <a:pPr marL="115714" marR="0" lvl="0" indent="-115714" algn="l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EVM 101 Earned Value Mgt </a:t>
                </a:r>
                <a:r>
                  <a:rPr kumimoji="0" lang="en-US" sz="1050" b="1" i="0" u="sng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OR</a:t>
                </a:r>
              </a:p>
              <a:p>
                <a:pPr marL="115714" marR="0" lvl="0" indent="-115714" algn="l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RQM 110 – Requirements Mgt </a:t>
                </a:r>
                <a:r>
                  <a:rPr kumimoji="0" lang="en-US" sz="1050" b="1" i="0" u="sng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OR</a:t>
                </a:r>
              </a:p>
              <a:p>
                <a:pPr marL="115714" marR="0" lvl="0" indent="-115714" algn="l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CON 121/124/127 Contract Planning, Execution and Mgt </a:t>
                </a:r>
                <a:r>
                  <a:rPr kumimoji="0" lang="en-US" sz="1050" b="1" i="0" u="sng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OR</a:t>
                </a:r>
              </a:p>
              <a:p>
                <a:pPr marL="115714" marR="0" lvl="0" indent="-115714" algn="l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LOG 204 – Configuration Mgt </a:t>
                </a:r>
                <a:r>
                  <a:rPr kumimoji="0" lang="en-US" sz="1050" b="1" i="0" u="sng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OR </a:t>
                </a:r>
              </a:p>
              <a:p>
                <a:pPr marL="115714" marR="0" lvl="0" indent="-115714" algn="l" defTabSz="914400" rtl="0" eaLnBrk="0" fontAlgn="auto" latinLnBrk="0" hangingPunct="0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US" sz="10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LOG 215 Technical Data Mgt</a:t>
                </a:r>
              </a:p>
            </p:txBody>
          </p:sp>
        </p:grpSp>
        <p:sp>
          <p:nvSpPr>
            <p:cNvPr id="97" name="Text Box 25"/>
            <p:cNvSpPr txBox="1">
              <a:spLocks noChangeArrowheads="1"/>
            </p:cNvSpPr>
            <p:nvPr/>
          </p:nvSpPr>
          <p:spPr bwMode="auto">
            <a:xfrm>
              <a:off x="3003381" y="1173743"/>
              <a:ext cx="1487426" cy="536935"/>
            </a:xfrm>
            <a:prstGeom prst="rect">
              <a:avLst/>
            </a:prstGeom>
            <a:solidFill>
              <a:srgbClr val="3333FF"/>
            </a:solidFill>
            <a:ln w="9525">
              <a:noFill/>
              <a:miter lim="800000"/>
              <a:headEnd/>
              <a:tailEnd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45653" tIns="45653" rIns="45653" bIns="45653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CQ 202</a:t>
              </a:r>
            </a:p>
            <a:p>
              <a:pPr marL="0" marR="0" lvl="0" indent="0" algn="ctr" defTabSz="914400" rtl="0" eaLnBrk="0" fontAlgn="auto" latinLnBrk="0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Intermediate Systems Acquisition, Part A</a:t>
              </a:r>
            </a:p>
          </p:txBody>
        </p:sp>
        <p:sp>
          <p:nvSpPr>
            <p:cNvPr id="98" name="Text Box 25"/>
            <p:cNvSpPr txBox="1">
              <a:spLocks noChangeArrowheads="1"/>
            </p:cNvSpPr>
            <p:nvPr/>
          </p:nvSpPr>
          <p:spPr bwMode="auto">
            <a:xfrm>
              <a:off x="4684745" y="1174687"/>
              <a:ext cx="1487426" cy="536935"/>
            </a:xfrm>
            <a:prstGeom prst="rect">
              <a:avLst/>
            </a:prstGeom>
            <a:solidFill>
              <a:srgbClr val="3333FF"/>
            </a:solidFill>
            <a:ln w="9525">
              <a:noFill/>
              <a:miter lim="800000"/>
              <a:headEnd/>
              <a:tailEnd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45653" tIns="45653" rIns="45653" bIns="45653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CQ 203</a:t>
              </a:r>
            </a:p>
            <a:p>
              <a:pPr marL="0" marR="0" lvl="0" indent="0" algn="ctr" defTabSz="914400" rtl="0" eaLnBrk="0" fontAlgn="auto" latinLnBrk="0" hangingPunct="0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Intermediate Systems Acquisition, Part B</a:t>
              </a:r>
            </a:p>
          </p:txBody>
        </p:sp>
        <p:sp>
          <p:nvSpPr>
            <p:cNvPr id="99" name="Text Box 20"/>
            <p:cNvSpPr txBox="1">
              <a:spLocks noChangeArrowheads="1"/>
            </p:cNvSpPr>
            <p:nvPr/>
          </p:nvSpPr>
          <p:spPr bwMode="auto">
            <a:xfrm>
              <a:off x="684012" y="2402896"/>
              <a:ext cx="1373188" cy="2360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653" tIns="45653" rIns="45653" bIns="45653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</a:t>
              </a:r>
              <a:r>
                <a:rPr kumimoji="0" 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5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rs, online</a:t>
              </a:r>
            </a:p>
          </p:txBody>
        </p:sp>
      </p:grpSp>
      <p:sp>
        <p:nvSpPr>
          <p:cNvPr id="101" name="Text Box 3"/>
          <p:cNvSpPr txBox="1">
            <a:spLocks noChangeArrowheads="1"/>
          </p:cNvSpPr>
          <p:nvPr/>
        </p:nvSpPr>
        <p:spPr bwMode="auto">
          <a:xfrm>
            <a:off x="158345" y="244712"/>
            <a:ext cx="8985655" cy="6126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5720" tIns="45720" rIns="45720" bIns="45720"/>
          <a:lstStyle/>
          <a:p>
            <a:pPr marL="0" marR="0" lvl="0" indent="0" algn="ctr" defTabSz="914400" rtl="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1" u="none" strike="noStrike" kern="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Life Cycle Logistics DAWIA Certification Requirements (</a:t>
            </a:r>
            <a:r>
              <a:rPr kumimoji="0" lang="en-US" sz="2200" b="1" i="1" u="none" strike="noStrike" kern="0" cap="none" spc="0" normalizeH="0" baseline="0" noProof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FY19)</a:t>
            </a:r>
            <a:endParaRPr kumimoji="0" lang="en-US" sz="2200" b="1" i="1" u="none" strike="noStrike" kern="0" cap="none" spc="0" normalizeH="0" baseline="0" noProof="0" dirty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885920" y="6525722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0" name="Text Box 20"/>
          <p:cNvSpPr txBox="1">
            <a:spLocks noChangeArrowheads="1"/>
          </p:cNvSpPr>
          <p:nvPr/>
        </p:nvSpPr>
        <p:spPr bwMode="auto">
          <a:xfrm>
            <a:off x="684012" y="1680234"/>
            <a:ext cx="1373188" cy="236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653" tIns="45653" rIns="45653" bIns="45653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 </a:t>
            </a:r>
            <a:r>
              <a:rPr kumimoji="0" lang="en-US" sz="11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s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online</a:t>
            </a:r>
          </a:p>
        </p:txBody>
      </p:sp>
      <p:sp>
        <p:nvSpPr>
          <p:cNvPr id="105" name="Text Box 43"/>
          <p:cNvSpPr txBox="1">
            <a:spLocks noChangeArrowheads="1"/>
          </p:cNvSpPr>
          <p:nvPr/>
        </p:nvSpPr>
        <p:spPr bwMode="auto">
          <a:xfrm>
            <a:off x="4648885" y="5716849"/>
            <a:ext cx="1615965" cy="236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653" tIns="45653" rIns="45653" bIns="45653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-35 </a:t>
            </a:r>
            <a:r>
              <a:rPr kumimoji="0" lang="en-US" sz="11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rs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online</a:t>
            </a:r>
          </a:p>
        </p:txBody>
      </p:sp>
      <p:sp>
        <p:nvSpPr>
          <p:cNvPr id="106" name="Text Box 29"/>
          <p:cNvSpPr txBox="1">
            <a:spLocks noChangeArrowheads="1"/>
          </p:cNvSpPr>
          <p:nvPr/>
        </p:nvSpPr>
        <p:spPr bwMode="auto">
          <a:xfrm>
            <a:off x="6954252" y="5746544"/>
            <a:ext cx="1797312" cy="236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653" tIns="45653" rIns="45653" bIns="45653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.0-4.5 days, 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assroom</a:t>
            </a:r>
          </a:p>
        </p:txBody>
      </p:sp>
      <p:sp>
        <p:nvSpPr>
          <p:cNvPr id="103" name="Text Box 63"/>
          <p:cNvSpPr txBox="1">
            <a:spLocks noChangeArrowheads="1"/>
          </p:cNvSpPr>
          <p:nvPr/>
        </p:nvSpPr>
        <p:spPr bwMode="auto">
          <a:xfrm>
            <a:off x="4839645" y="3842266"/>
            <a:ext cx="1221253" cy="550015"/>
          </a:xfrm>
          <a:prstGeom prst="rect">
            <a:avLst/>
          </a:prstGeom>
          <a:solidFill>
            <a:srgbClr val="FFFFFF"/>
          </a:solidFill>
          <a:ln w="19050">
            <a:solidFill>
              <a:sysClr val="windowText" lastClr="000000"/>
            </a:solidFill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lIns="45653" tIns="45653" rIns="45653" bIns="45653">
            <a:spAutoFit/>
          </a:bodyPr>
          <a:lstStyle>
            <a:defPPr>
              <a:defRPr lang="en-US"/>
            </a:defPPr>
            <a:lvl1pPr marL="0" marR="0" lvl="0" indent="0" defTabSz="914400" fontAlgn="auto" latinLnBrk="0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r>
              <a:rPr lang="en-US" dirty="0"/>
              <a:t>CLE 068</a:t>
            </a:r>
          </a:p>
          <a:p>
            <a:r>
              <a:rPr lang="en-US" sz="1050" dirty="0">
                <a:latin typeface="Arial Narrow" panose="020B0606020202030204" pitchFamily="34" charset="0"/>
              </a:rPr>
              <a:t>Intellectual Property</a:t>
            </a:r>
          </a:p>
          <a:p>
            <a:r>
              <a:rPr lang="en-US" sz="1050" dirty="0">
                <a:latin typeface="Arial Narrow" panose="020B0606020202030204" pitchFamily="34" charset="0"/>
              </a:rPr>
              <a:t>&amp; Data Rights</a:t>
            </a:r>
          </a:p>
        </p:txBody>
      </p:sp>
      <p:grpSp>
        <p:nvGrpSpPr>
          <p:cNvPr id="102" name="Group 101"/>
          <p:cNvGrpSpPr/>
          <p:nvPr/>
        </p:nvGrpSpPr>
        <p:grpSpPr>
          <a:xfrm>
            <a:off x="61245" y="25836"/>
            <a:ext cx="1081454" cy="327782"/>
            <a:chOff x="211015" y="35988"/>
            <a:chExt cx="1837591" cy="217950"/>
          </a:xfrm>
          <a:noFill/>
        </p:grpSpPr>
        <p:sp>
          <p:nvSpPr>
            <p:cNvPr id="104" name="Rectangle 103"/>
            <p:cNvSpPr/>
            <p:nvPr/>
          </p:nvSpPr>
          <p:spPr bwMode="auto">
            <a:xfrm>
              <a:off x="211015" y="35988"/>
              <a:ext cx="1670539" cy="217078"/>
            </a:xfrm>
            <a:prstGeom prst="rect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hangingPunct="1">
                <a:lnSpc>
                  <a:spcPct val="100000"/>
                </a:lnSpc>
              </a:pPr>
              <a:endParaRPr lang="en-US" sz="1800" b="0" dirty="0" smtClean="0">
                <a:solidFill>
                  <a:srgbClr val="000000"/>
                </a:solidFill>
                <a:latin typeface="Arial" charset="0"/>
              </a:endParaRPr>
            </a:p>
          </p:txBody>
        </p:sp>
        <p:grpSp>
          <p:nvGrpSpPr>
            <p:cNvPr id="107" name="Group 106"/>
            <p:cNvGrpSpPr/>
            <p:nvPr/>
          </p:nvGrpSpPr>
          <p:grpSpPr>
            <a:xfrm>
              <a:off x="303351" y="35988"/>
              <a:ext cx="1745255" cy="217950"/>
              <a:chOff x="189051" y="71156"/>
              <a:chExt cx="1745255" cy="217950"/>
            </a:xfrm>
            <a:grpFill/>
          </p:grpSpPr>
          <p:sp>
            <p:nvSpPr>
              <p:cNvPr id="108" name="TextBox 107"/>
              <p:cNvSpPr txBox="1"/>
              <p:nvPr/>
            </p:nvSpPr>
            <p:spPr>
              <a:xfrm>
                <a:off x="189051" y="71156"/>
                <a:ext cx="1745255" cy="217950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sz="900" dirty="0" smtClean="0">
                    <a:solidFill>
                      <a:srgbClr val="C00000"/>
                    </a:solidFill>
                  </a:rPr>
                  <a:t>System Sustainment</a:t>
                </a:r>
                <a:endParaRPr lang="en-US" sz="900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09" name="Rectangle 108"/>
              <p:cNvSpPr/>
              <p:nvPr/>
            </p:nvSpPr>
            <p:spPr bwMode="auto">
              <a:xfrm>
                <a:off x="193432" y="141013"/>
                <a:ext cx="138260" cy="73878"/>
              </a:xfrm>
              <a:prstGeom prst="rect">
                <a:avLst/>
              </a:prstGeom>
              <a:solidFill>
                <a:srgbClr val="C00000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endParaRPr lang="en-US" dirty="0" smtClean="0">
                  <a:solidFill>
                    <a:srgbClr val="FF0000"/>
                  </a:solidFill>
                </a:endParaRPr>
              </a:p>
            </p:txBody>
          </p:sp>
        </p:grpSp>
      </p:grpSp>
      <p:grpSp>
        <p:nvGrpSpPr>
          <p:cNvPr id="110" name="Group 109"/>
          <p:cNvGrpSpPr/>
          <p:nvPr/>
        </p:nvGrpSpPr>
        <p:grpSpPr>
          <a:xfrm>
            <a:off x="72964" y="380469"/>
            <a:ext cx="1081454" cy="445507"/>
            <a:chOff x="72964" y="380469"/>
            <a:chExt cx="1081454" cy="445507"/>
          </a:xfrm>
        </p:grpSpPr>
        <p:grpSp>
          <p:nvGrpSpPr>
            <p:cNvPr id="111" name="Group 110"/>
            <p:cNvGrpSpPr/>
            <p:nvPr/>
          </p:nvGrpSpPr>
          <p:grpSpPr>
            <a:xfrm>
              <a:off x="72964" y="380469"/>
              <a:ext cx="1081454" cy="445507"/>
              <a:chOff x="211015" y="35988"/>
              <a:chExt cx="1837591" cy="225067"/>
            </a:xfrm>
            <a:noFill/>
          </p:grpSpPr>
          <p:sp>
            <p:nvSpPr>
              <p:cNvPr id="113" name="Rectangle 112"/>
              <p:cNvSpPr/>
              <p:nvPr/>
            </p:nvSpPr>
            <p:spPr bwMode="auto">
              <a:xfrm>
                <a:off x="211015" y="35989"/>
                <a:ext cx="1670539" cy="197422"/>
              </a:xfrm>
              <a:prstGeom prst="rect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>
                  <a:lnSpc>
                    <a:spcPct val="100000"/>
                  </a:lnSpc>
                </a:pPr>
                <a:endParaRPr lang="en-US" sz="1800" b="0" dirty="0" smtClean="0">
                  <a:solidFill>
                    <a:srgbClr val="000000"/>
                  </a:solidFill>
                  <a:latin typeface="Arial" charset="0"/>
                </a:endParaRPr>
              </a:p>
            </p:txBody>
          </p:sp>
          <p:sp>
            <p:nvSpPr>
              <p:cNvPr id="114" name="TextBox 113"/>
              <p:cNvSpPr txBox="1"/>
              <p:nvPr/>
            </p:nvSpPr>
            <p:spPr>
              <a:xfrm>
                <a:off x="303350" y="35988"/>
                <a:ext cx="1745256" cy="22506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sz="900" dirty="0" smtClean="0">
                    <a:solidFill>
                      <a:srgbClr val="000099"/>
                    </a:solidFill>
                  </a:rPr>
                  <a:t>Designing Supportable Systems</a:t>
                </a:r>
                <a:endParaRPr lang="en-US" sz="900" dirty="0">
                  <a:solidFill>
                    <a:srgbClr val="000099"/>
                  </a:solidFill>
                </a:endParaRPr>
              </a:p>
            </p:txBody>
          </p:sp>
        </p:grpSp>
        <p:sp>
          <p:nvSpPr>
            <p:cNvPr id="112" name="Rectangle 111"/>
            <p:cNvSpPr/>
            <p:nvPr/>
          </p:nvSpPr>
          <p:spPr bwMode="auto">
            <a:xfrm>
              <a:off x="121096" y="529479"/>
              <a:ext cx="81368" cy="111108"/>
            </a:xfrm>
            <a:prstGeom prst="rect">
              <a:avLst/>
            </a:prstGeom>
            <a:solidFill>
              <a:srgbClr val="000099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en-US" dirty="0" smtClean="0">
                <a:solidFill>
                  <a:srgbClr val="FF0000"/>
                </a:solidFill>
              </a:endParaRPr>
            </a:p>
          </p:txBody>
        </p:sp>
      </p:grpSp>
      <p:sp>
        <p:nvSpPr>
          <p:cNvPr id="115" name="Oval 114"/>
          <p:cNvSpPr/>
          <p:nvPr/>
        </p:nvSpPr>
        <p:spPr>
          <a:xfrm>
            <a:off x="2749440" y="2797633"/>
            <a:ext cx="1880782" cy="894774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116" name="Oval 115"/>
          <p:cNvSpPr/>
          <p:nvPr/>
        </p:nvSpPr>
        <p:spPr>
          <a:xfrm>
            <a:off x="6745840" y="1115118"/>
            <a:ext cx="1880782" cy="664874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117" name="Oval 116"/>
          <p:cNvSpPr/>
          <p:nvPr/>
        </p:nvSpPr>
        <p:spPr>
          <a:xfrm>
            <a:off x="383974" y="3316243"/>
            <a:ext cx="1880782" cy="664874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118" name="Oval 117"/>
          <p:cNvSpPr/>
          <p:nvPr/>
        </p:nvSpPr>
        <p:spPr>
          <a:xfrm>
            <a:off x="423303" y="4748208"/>
            <a:ext cx="1880782" cy="664874"/>
          </a:xfrm>
          <a:prstGeom prst="ellipse">
            <a:avLst/>
          </a:prstGeom>
          <a:noFill/>
          <a:ln w="28575"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119" name="Oval 118"/>
          <p:cNvSpPr/>
          <p:nvPr/>
        </p:nvSpPr>
        <p:spPr>
          <a:xfrm>
            <a:off x="413282" y="4057731"/>
            <a:ext cx="1880782" cy="664874"/>
          </a:xfrm>
          <a:prstGeom prst="ellipse">
            <a:avLst/>
          </a:prstGeom>
          <a:noFill/>
          <a:ln w="28575"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120" name="Oval 119"/>
          <p:cNvSpPr/>
          <p:nvPr/>
        </p:nvSpPr>
        <p:spPr>
          <a:xfrm>
            <a:off x="6541022" y="4986060"/>
            <a:ext cx="2435171" cy="269844"/>
          </a:xfrm>
          <a:prstGeom prst="ellipse">
            <a:avLst/>
          </a:prstGeom>
          <a:noFill/>
          <a:ln w="28575"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121" name="Oval 120"/>
          <p:cNvSpPr/>
          <p:nvPr/>
        </p:nvSpPr>
        <p:spPr>
          <a:xfrm>
            <a:off x="2677062" y="5225927"/>
            <a:ext cx="1880782" cy="664874"/>
          </a:xfrm>
          <a:prstGeom prst="ellipse">
            <a:avLst/>
          </a:prstGeom>
          <a:noFill/>
          <a:ln w="28575"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122" name="Oval 121"/>
          <p:cNvSpPr/>
          <p:nvPr/>
        </p:nvSpPr>
        <p:spPr>
          <a:xfrm>
            <a:off x="4171483" y="4927013"/>
            <a:ext cx="2435171" cy="269844"/>
          </a:xfrm>
          <a:prstGeom prst="ellipse">
            <a:avLst/>
          </a:prstGeom>
          <a:noFill/>
          <a:ln w="28575"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123" name="Oval 122"/>
          <p:cNvSpPr/>
          <p:nvPr/>
        </p:nvSpPr>
        <p:spPr>
          <a:xfrm>
            <a:off x="2732750" y="3809530"/>
            <a:ext cx="1880782" cy="664874"/>
          </a:xfrm>
          <a:prstGeom prst="ellipse">
            <a:avLst/>
          </a:prstGeom>
          <a:noFill/>
          <a:ln w="28575">
            <a:solidFill>
              <a:srgbClr val="00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124" name="Oval 123"/>
          <p:cNvSpPr/>
          <p:nvPr/>
        </p:nvSpPr>
        <p:spPr>
          <a:xfrm>
            <a:off x="4488044" y="2782082"/>
            <a:ext cx="1880782" cy="894774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125" name="Oval 124"/>
          <p:cNvSpPr/>
          <p:nvPr/>
        </p:nvSpPr>
        <p:spPr>
          <a:xfrm>
            <a:off x="2752547" y="1932999"/>
            <a:ext cx="1880782" cy="894774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126" name="Oval 125"/>
          <p:cNvSpPr/>
          <p:nvPr/>
        </p:nvSpPr>
        <p:spPr>
          <a:xfrm>
            <a:off x="4491151" y="1917448"/>
            <a:ext cx="1880782" cy="894774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127" name="Oval 126"/>
          <p:cNvSpPr/>
          <p:nvPr/>
        </p:nvSpPr>
        <p:spPr>
          <a:xfrm>
            <a:off x="387085" y="5334768"/>
            <a:ext cx="1880782" cy="664874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white"/>
              </a:solidFill>
            </a:endParaRPr>
          </a:p>
        </p:txBody>
      </p:sp>
      <p:sp>
        <p:nvSpPr>
          <p:cNvPr id="128" name="Oval 127"/>
          <p:cNvSpPr/>
          <p:nvPr/>
        </p:nvSpPr>
        <p:spPr>
          <a:xfrm>
            <a:off x="6813010" y="2616695"/>
            <a:ext cx="1880782" cy="894774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4685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1"/>
          <p:cNvSpPr>
            <a:spLocks noGrp="1"/>
          </p:cNvSpPr>
          <p:nvPr>
            <p:ph type="title"/>
          </p:nvPr>
        </p:nvSpPr>
        <p:spPr>
          <a:xfrm>
            <a:off x="1811947" y="274638"/>
            <a:ext cx="7086600" cy="457200"/>
          </a:xfrm>
        </p:spPr>
        <p:txBody>
          <a:bodyPr anchor="ctr">
            <a:noAutofit/>
          </a:bodyPr>
          <a:lstStyle/>
          <a:p>
            <a:pPr algn="ctr" defTabSz="914391"/>
            <a:r>
              <a:rPr lang="en-US" altLang="en-US" sz="2800" b="1" i="1" kern="0" dirty="0" smtClean="0">
                <a:solidFill>
                  <a:srgbClr val="000099"/>
                </a:solidFill>
                <a:latin typeface="Arial Narrow" panose="020B0606020202030204" pitchFamily="34" charset="0"/>
              </a:rPr>
              <a:t>40 Logistics Continuous Learning Modules</a:t>
            </a:r>
            <a:endParaRPr lang="en-US" sz="2800" b="1" i="1" kern="0" dirty="0">
              <a:solidFill>
                <a:srgbClr val="000099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/>
          </p:nvPr>
        </p:nvGraphicFramePr>
        <p:xfrm>
          <a:off x="1041580" y="1405334"/>
          <a:ext cx="3378020" cy="3711405"/>
        </p:xfrm>
        <a:graphic>
          <a:graphicData uri="http://schemas.openxmlformats.org/drawingml/2006/table">
            <a:tbl>
              <a:tblPr/>
              <a:tblGrid>
                <a:gridCol w="3887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893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9407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CLL 001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Life Cycle Management &amp; Sustainment Metrics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48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02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fense Logistics Agency Support to the PM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48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03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portability Test and Evaluation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48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04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fe Cycle Logistics for the Rest of Us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4072">
                <a:tc>
                  <a:txBody>
                    <a:bodyPr/>
                    <a:lstStyle/>
                    <a:p>
                      <a:pPr marL="0" algn="l" defTabSz="76197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LL 005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6197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eveloping a Life Cycle Sustainment Plan (LCSP)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1893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06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blic-Private Partnerships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407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07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ad Free Electronics Impact on DoD Programs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4831">
                <a:tc>
                  <a:txBody>
                    <a:bodyPr/>
                    <a:lstStyle/>
                    <a:p>
                      <a:pPr marL="0" algn="l" defTabSz="76197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LL 008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6197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esigning for Supportability in DoD Systems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4831">
                <a:tc>
                  <a:txBody>
                    <a:bodyPr/>
                    <a:lstStyle/>
                    <a:p>
                      <a:pPr marL="0" algn="l" defTabSz="76197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LL 011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6197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erformance Based Logistics (PBL)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4831">
                <a:tc>
                  <a:txBody>
                    <a:bodyPr/>
                    <a:lstStyle/>
                    <a:p>
                      <a:pPr marL="0" algn="l" defTabSz="76197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LL 012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6197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portability Analysis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48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13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D Packaging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4831">
                <a:tc>
                  <a:txBody>
                    <a:bodyPr/>
                    <a:lstStyle/>
                    <a:p>
                      <a:pPr marL="0" algn="l" defTabSz="76197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LL 015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6197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oduct Support Business Case Analysis (BCA)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4831">
                <a:tc>
                  <a:txBody>
                    <a:bodyPr/>
                    <a:lstStyle/>
                    <a:p>
                      <a:pPr marL="0" algn="l" defTabSz="76197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LL 020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6197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ndependent Logistics Assessments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48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22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tle 10 Depot Maintenance Statute Overview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48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23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tle 10 U.S.C. 2464 Core Statute Implementation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48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24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tle 10 Limitations on  Performance of Depot Maintenance (50/50)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48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25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pot Maintenance Interservice Support Agreements (DMISA)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848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26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pot Maintenance Capacity Measurement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848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2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roduction to DoD</a:t>
                      </a: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oftware Life Cycle Managemen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2024375"/>
                  </a:ext>
                </a:extLst>
              </a:tr>
              <a:tr h="1848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29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ition-Based Maintenance Plus (CBM+)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527058"/>
              </p:ext>
            </p:extLst>
          </p:nvPr>
        </p:nvGraphicFramePr>
        <p:xfrm>
          <a:off x="4800600" y="1427006"/>
          <a:ext cx="3429000" cy="3551725"/>
        </p:xfrm>
        <a:graphic>
          <a:graphicData uri="http://schemas.openxmlformats.org/drawingml/2006/table">
            <a:tbl>
              <a:tblPr/>
              <a:tblGrid>
                <a:gridCol w="3945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344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206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30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iability Centered Maintenance (RCM)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9307165"/>
                  </a:ext>
                </a:extLst>
              </a:tr>
              <a:tr h="18206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31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formance Based Logistics (PBL) Contracting Strategies</a:t>
                      </a:r>
                    </a:p>
                  </a:txBody>
                  <a:tcPr marL="6941" marR="6941" marT="694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50023"/>
                  </a:ext>
                </a:extLst>
              </a:tr>
              <a:tr h="18206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32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venting Counterfeit Electronic Parts from Entering  Supply System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4359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33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gistician’s Responsibilities During Technical Reviews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4359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37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D Supply Chain Fundamentals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4359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38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visioning and Cataloging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4359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43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een Logistics: Planning for Sustainability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74359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45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igning for Transportability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940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46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Twelve Integrated Product Support Elements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4359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51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stem Retirement, Materiel Disposition Reclamation, Demil &amp; </a:t>
                      </a:r>
                      <a:r>
                        <a:rPr lang="fr-FR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osal</a:t>
                      </a:r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4359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57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of Repair Analysis - Introduction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073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58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el of Repair Analysis – Theory and Principles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74359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59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staining Engineering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74359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062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erfeit Prevention Awareness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74359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120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DoD Shelf-Life Program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74359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200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MSMS: What Program Management Needs To Do And Why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74359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201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MSMS Fundamentals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74359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202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MSMS Executive Overview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74359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206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roduction to Parts Management</a:t>
                      </a: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74359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 20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MSMS Basic Component</a:t>
                      </a: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Research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0" marR="6380" marT="63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4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2913713"/>
                  </a:ext>
                </a:extLst>
              </a:tr>
            </a:tbl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381000" y="5791200"/>
            <a:ext cx="1828800" cy="183896"/>
            <a:chOff x="211015" y="35988"/>
            <a:chExt cx="1828800" cy="217078"/>
          </a:xfrm>
        </p:grpSpPr>
        <p:sp>
          <p:nvSpPr>
            <p:cNvPr id="6" name="Rectangle 5"/>
            <p:cNvSpPr/>
            <p:nvPr/>
          </p:nvSpPr>
          <p:spPr bwMode="auto">
            <a:xfrm>
              <a:off x="211015" y="35988"/>
              <a:ext cx="1670539" cy="217078"/>
            </a:xfrm>
            <a:prstGeom prst="rect">
              <a:avLst/>
            </a:prstGeom>
            <a:solidFill>
              <a:srgbClr val="FFFF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1" hangingPunct="1">
                <a:lnSpc>
                  <a:spcPct val="100000"/>
                </a:lnSpc>
              </a:pPr>
              <a:endParaRPr lang="en-US" sz="1800" b="0">
                <a:latin typeface="Arial" charset="0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307732" y="35988"/>
              <a:ext cx="1732083" cy="217078"/>
              <a:chOff x="193432" y="71156"/>
              <a:chExt cx="1732083" cy="217078"/>
            </a:xfrm>
          </p:grpSpPr>
          <p:sp>
            <p:nvSpPr>
              <p:cNvPr id="8" name="TextBox 7"/>
              <p:cNvSpPr txBox="1"/>
              <p:nvPr/>
            </p:nvSpPr>
            <p:spPr>
              <a:xfrm>
                <a:off x="347313" y="71156"/>
                <a:ext cx="1578202" cy="2170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700" dirty="0">
                    <a:solidFill>
                      <a:srgbClr val="C00000"/>
                    </a:solidFill>
                  </a:rPr>
                  <a:t>Required for DAWIA Certification</a:t>
                </a:r>
              </a:p>
            </p:txBody>
          </p:sp>
          <p:sp>
            <p:nvSpPr>
              <p:cNvPr id="9" name="Rectangle 8"/>
              <p:cNvSpPr/>
              <p:nvPr/>
            </p:nvSpPr>
            <p:spPr bwMode="auto">
              <a:xfrm>
                <a:off x="193432" y="141013"/>
                <a:ext cx="138260" cy="73878"/>
              </a:xfrm>
              <a:prstGeom prst="rect">
                <a:avLst/>
              </a:prstGeom>
              <a:solidFill>
                <a:srgbClr val="C00000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FF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89798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sosceles Triangle 4"/>
          <p:cNvSpPr/>
          <p:nvPr/>
        </p:nvSpPr>
        <p:spPr>
          <a:xfrm>
            <a:off x="1321514" y="866614"/>
            <a:ext cx="6617617" cy="5727580"/>
          </a:xfrm>
          <a:prstGeom prst="triangle">
            <a:avLst/>
          </a:prstGeom>
          <a:solidFill>
            <a:srgbClr val="FFFFCC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utura Medium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2150" y="126563"/>
            <a:ext cx="7664961" cy="776922"/>
          </a:xfrm>
        </p:spPr>
        <p:txBody>
          <a:bodyPr/>
          <a:lstStyle/>
          <a:p>
            <a:pPr algn="ctr"/>
            <a:r>
              <a:rPr lang="en-US" sz="2400" b="1" i="1" dirty="0" smtClean="0">
                <a:solidFill>
                  <a:srgbClr val="003399"/>
                </a:solidFill>
                <a:latin typeface="Arial Narrow" pitchFamily="34" charset="0"/>
                <a:cs typeface="+mj-cs"/>
              </a:rPr>
              <a:t>Nearly 90 Interdisciplinary </a:t>
            </a:r>
            <a:r>
              <a:rPr lang="en-US" sz="2400" b="1" i="1" dirty="0">
                <a:solidFill>
                  <a:srgbClr val="003399"/>
                </a:solidFill>
                <a:latin typeface="Arial Narrow" pitchFamily="34" charset="0"/>
                <a:cs typeface="+mj-cs"/>
              </a:rPr>
              <a:t>Product </a:t>
            </a:r>
            <a:r>
              <a:rPr lang="en-US" sz="2400" b="1" i="1" dirty="0" smtClean="0">
                <a:solidFill>
                  <a:srgbClr val="003399"/>
                </a:solidFill>
                <a:latin typeface="Arial Narrow" pitchFamily="34" charset="0"/>
                <a:cs typeface="+mj-cs"/>
              </a:rPr>
              <a:t>Support- </a:t>
            </a:r>
            <a:br>
              <a:rPr lang="en-US" sz="2400" b="1" i="1" dirty="0" smtClean="0">
                <a:solidFill>
                  <a:srgbClr val="003399"/>
                </a:solidFill>
                <a:latin typeface="Arial Narrow" pitchFamily="34" charset="0"/>
                <a:cs typeface="+mj-cs"/>
              </a:rPr>
            </a:br>
            <a:r>
              <a:rPr lang="en-US" sz="2400" b="1" i="1" dirty="0" smtClean="0">
                <a:solidFill>
                  <a:srgbClr val="003399"/>
                </a:solidFill>
                <a:latin typeface="Arial Narrow" pitchFamily="34" charset="0"/>
                <a:cs typeface="+mj-cs"/>
              </a:rPr>
              <a:t>Focused Continuous Learning Modules</a:t>
            </a:r>
            <a:endParaRPr lang="en-US" sz="2400" b="1" i="1" dirty="0">
              <a:solidFill>
                <a:srgbClr val="003399"/>
              </a:solidFill>
              <a:latin typeface="Arial Narrow" pitchFamily="34" charset="0"/>
              <a:cs typeface="+mj-cs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224543" y="4666405"/>
            <a:ext cx="3357681" cy="1969793"/>
            <a:chOff x="954390" y="1190840"/>
            <a:chExt cx="3357681" cy="1969793"/>
          </a:xfrm>
        </p:grpSpPr>
        <p:sp>
          <p:nvSpPr>
            <p:cNvPr id="51" name="TextBox 50"/>
            <p:cNvSpPr txBox="1"/>
            <p:nvPr/>
          </p:nvSpPr>
          <p:spPr>
            <a:xfrm>
              <a:off x="1145412" y="2832851"/>
              <a:ext cx="2559398" cy="327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8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Designing Supportable 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8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Systems</a:t>
              </a:r>
            </a:p>
            <a:p>
              <a:pPr marL="171450" marR="0" lvl="0" indent="-171450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954390" y="1190840"/>
              <a:ext cx="3088449" cy="1660974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>
              <a:glow rad="139700">
                <a:schemeClr val="accent2">
                  <a:satMod val="175000"/>
                  <a:alpha val="40000"/>
                </a:schemeClr>
              </a:glow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20000"/>
                    <a:lumOff val="80000"/>
                  </a:srgbClr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3" name="Rectangle 2"/>
            <p:cNvSpPr/>
            <p:nvPr/>
          </p:nvSpPr>
          <p:spPr>
            <a:xfrm>
              <a:off x="1028706" y="1209277"/>
              <a:ext cx="3283365" cy="15573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L 008 Designing for Supportability</a:t>
              </a: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L 012 Supportability Analysis</a:t>
              </a: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L 033 Logistician’s Responsibilities </a:t>
              </a:r>
              <a:r>
                <a:rPr kumimoji="0" 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in Tech Reviews</a:t>
              </a: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L </a:t>
              </a: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043 Green Logistics-Planning for Sustainability</a:t>
              </a: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L 045 Designing for Transportability</a:t>
              </a: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L 057 LORA - Introduction</a:t>
              </a: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L 058 LORA – Theory &amp; Principles</a:t>
              </a: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L </a:t>
              </a: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206 Introduction to Parts Management</a:t>
              </a: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E 001 Value Engineering</a:t>
              </a: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E 012 DoD Open Systems Architecture (OSA)</a:t>
              </a: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E 036 ECPs for Engineers</a:t>
              </a: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E 062 Human Systems </a:t>
              </a:r>
              <a:r>
                <a:rPr kumimoji="0" 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Integration</a:t>
              </a: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E 074 Cybersecurity Throughout DoD Acquisition</a:t>
              </a: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E 301 R&amp;M Engineering Overview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6025119" y="4638914"/>
            <a:ext cx="2994214" cy="1999047"/>
            <a:chOff x="5078964" y="1256958"/>
            <a:chExt cx="3069448" cy="1999047"/>
          </a:xfrm>
        </p:grpSpPr>
        <p:grpSp>
          <p:nvGrpSpPr>
            <p:cNvPr id="14" name="Group 13"/>
            <p:cNvGrpSpPr/>
            <p:nvPr/>
          </p:nvGrpSpPr>
          <p:grpSpPr>
            <a:xfrm>
              <a:off x="5078964" y="1256958"/>
              <a:ext cx="3069448" cy="1671721"/>
              <a:chOff x="5272915" y="1262484"/>
              <a:chExt cx="3069448" cy="1671721"/>
            </a:xfrm>
          </p:grpSpPr>
          <p:sp>
            <p:nvSpPr>
              <p:cNvPr id="73" name="Rounded Rectangle 72"/>
              <p:cNvSpPr/>
              <p:nvPr/>
            </p:nvSpPr>
            <p:spPr>
              <a:xfrm>
                <a:off x="5272915" y="1270081"/>
                <a:ext cx="3010943" cy="1664124"/>
              </a:xfrm>
              <a:prstGeom prst="round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>
                <a:glow rad="139700">
                  <a:schemeClr val="accent2">
                    <a:satMod val="175000"/>
                    <a:alpha val="40000"/>
                  </a:schemeClr>
                </a:glow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5280398" y="1262484"/>
                <a:ext cx="3061965" cy="166199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L 002 DLA Support To the PM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L 007 Lead-Free Electronics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L 013 DoD Packaging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L </a:t>
                </a: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032 Preventing Counterfeit Parts from </a:t>
                </a:r>
                <a:r>
                  <a:rPr kumimoji="0" lang="en-US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DoD Supply System</a:t>
                </a:r>
                <a:endPara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L </a:t>
                </a: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037 DoD Supply Chain Fundamentals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L 038 Provisioning &amp; Cataloging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L 062 Counterfeit Prevention Awareness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L 120 Introduction to the DoD Shelf Life Program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L </a:t>
                </a:r>
                <a:r>
                  <a:rPr kumimoji="0" lang="en-US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200-203 DMSMS</a:t>
                </a:r>
                <a:endPara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L 113 Packaging of Hazardous Materials (</a:t>
                </a:r>
                <a:r>
                  <a:rPr kumimoji="0" lang="en-US" sz="8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Future</a:t>
                </a: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)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M 044 Radio Frequency Identification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M 200 Item Unique Identification (IUID)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M 201 Serialized Item Management (SIM)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E 040 IUID Marking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E 080 </a:t>
                </a:r>
                <a:r>
                  <a:rPr kumimoji="0" lang="en-US" sz="8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SCRM </a:t>
                </a: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for Information and Communications </a:t>
                </a:r>
                <a:r>
                  <a:rPr kumimoji="0" lang="en-US" sz="8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Technology</a:t>
                </a:r>
                <a:endPara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74" name="TextBox 73"/>
            <p:cNvSpPr txBox="1"/>
            <p:nvPr/>
          </p:nvSpPr>
          <p:spPr>
            <a:xfrm>
              <a:off x="5417537" y="2928223"/>
              <a:ext cx="2559398" cy="327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8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Supply Chain Management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  <a:p>
              <a:pPr marL="171450" marR="0" lvl="0" indent="-171450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5547893" y="3082292"/>
            <a:ext cx="3279837" cy="1389427"/>
            <a:chOff x="5613428" y="3481526"/>
            <a:chExt cx="3279837" cy="1389427"/>
          </a:xfrm>
        </p:grpSpPr>
        <p:sp>
          <p:nvSpPr>
            <p:cNvPr id="45" name="TextBox 44"/>
            <p:cNvSpPr txBox="1"/>
            <p:nvPr/>
          </p:nvSpPr>
          <p:spPr>
            <a:xfrm>
              <a:off x="5613428" y="4621654"/>
              <a:ext cx="3279837" cy="2492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8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Maintenance Planning &amp; Management</a:t>
              </a:r>
              <a:endPara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5831876" y="3481526"/>
              <a:ext cx="2894996" cy="1138773"/>
              <a:chOff x="5273901" y="1123719"/>
              <a:chExt cx="2894996" cy="1134464"/>
            </a:xfrm>
          </p:grpSpPr>
          <p:sp>
            <p:nvSpPr>
              <p:cNvPr id="76" name="Rounded Rectangle 75"/>
              <p:cNvSpPr/>
              <p:nvPr/>
            </p:nvSpPr>
            <p:spPr>
              <a:xfrm>
                <a:off x="5273901" y="1130272"/>
                <a:ext cx="2753241" cy="1100253"/>
              </a:xfrm>
              <a:prstGeom prst="round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>
                <a:glow rad="139700">
                  <a:schemeClr val="accent2">
                    <a:satMod val="175000"/>
                    <a:alpha val="40000"/>
                  </a:schemeClr>
                </a:glow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77" name="Rectangle 76"/>
              <p:cNvSpPr/>
              <p:nvPr/>
            </p:nvSpPr>
            <p:spPr>
              <a:xfrm>
                <a:off x="5318595" y="1123719"/>
                <a:ext cx="2850302" cy="11344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L 006 Depot Maintenance Partnering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L 022 Depot Maintenance Statute Overview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L 023 Title 10 USC 2464 Core Statute 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L 024 Title </a:t>
                </a:r>
                <a:r>
                  <a:rPr kumimoji="0" lang="en-US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10 2466 Limits on Depot Maintenance </a:t>
                </a: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(50/50)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L 025 Depot Maintenance Interservice </a:t>
                </a:r>
                <a:r>
                  <a:rPr kumimoji="0" lang="en-US" sz="800" b="1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Spt</a:t>
                </a:r>
                <a:r>
                  <a:rPr kumimoji="0" lang="en-US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 </a:t>
                </a: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Agreements 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L 026 Depot Maintenance Capacity Measurement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L 027 Software Life Cycle Management</a:t>
                </a:r>
                <a:endPara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L 029 Condition Based Maintenance (CBM+)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L 030 Reliability Centered Maintenance (RCM)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M </a:t>
                </a: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038 Corrosion Prevention &amp; Control Overview</a:t>
                </a:r>
              </a:p>
            </p:txBody>
          </p:sp>
        </p:grpSp>
      </p:grpSp>
      <p:grpSp>
        <p:nvGrpSpPr>
          <p:cNvPr id="19" name="Group 18"/>
          <p:cNvGrpSpPr/>
          <p:nvPr/>
        </p:nvGrpSpPr>
        <p:grpSpPr>
          <a:xfrm>
            <a:off x="2675286" y="1235434"/>
            <a:ext cx="3838824" cy="1763661"/>
            <a:chOff x="-335097" y="3180264"/>
            <a:chExt cx="3838824" cy="1763662"/>
          </a:xfrm>
        </p:grpSpPr>
        <p:sp>
          <p:nvSpPr>
            <p:cNvPr id="39" name="TextBox 38"/>
            <p:cNvSpPr txBox="1"/>
            <p:nvPr/>
          </p:nvSpPr>
          <p:spPr>
            <a:xfrm>
              <a:off x="-335097" y="4694627"/>
              <a:ext cx="3838824" cy="2492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8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Product Support Strategy Development &amp; Execution</a:t>
              </a:r>
              <a:endParaRPr kumimoji="0" lang="en-US" sz="800" b="1" i="1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79" name="Rounded Rectangle 78"/>
            <p:cNvSpPr/>
            <p:nvPr/>
          </p:nvSpPr>
          <p:spPr>
            <a:xfrm>
              <a:off x="139223" y="3209133"/>
              <a:ext cx="2881185" cy="1432695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>
              <a:glow rad="139700">
                <a:schemeClr val="accent2">
                  <a:satMod val="175000"/>
                  <a:alpha val="40000"/>
                </a:schemeClr>
              </a:glow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20000"/>
                    <a:lumOff val="80000"/>
                  </a:srgbClr>
                </a:solidFill>
                <a:effectLst/>
                <a:uLnTx/>
                <a:uFillTx/>
                <a:latin typeface="Futura Medium"/>
                <a:ea typeface="+mn-ea"/>
                <a:cs typeface="+mn-cs"/>
              </a:endParaRP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212872" y="3180264"/>
              <a:ext cx="3283365" cy="14657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marR="0" lvl="0" indent="-171450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L 003 Logistics Test &amp; Evaluation</a:t>
              </a: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L 004 Life Cycle Logistics for the Rest of Us</a:t>
              </a: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L 005 Life Cycle Sustainment Plan (LCSP)</a:t>
              </a: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L 011 Performance Based Logistics (PBL)</a:t>
              </a: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L 015 Business Case Analysis (BCA)</a:t>
              </a: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L 020 Independent Logistics Assessments (ILA)</a:t>
              </a: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L 036 Product Support Manager (PSM)</a:t>
              </a: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L </a:t>
              </a: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040 Business Case Analysis (BCA) Tools</a:t>
              </a: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L 051 System Retirement, Reclamation, </a:t>
              </a:r>
              <a:r>
                <a:rPr kumimoji="0" 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Demil &amp; Disposition</a:t>
              </a: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99"/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L 059 Sustaining Engineering</a:t>
              </a: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E 074 Cybersecurity Across DoD Acquisition</a:t>
              </a: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M 017 Risk Management</a:t>
              </a:r>
            </a:p>
            <a:p>
              <a:pPr marL="176213" marR="0" lvl="0" indent="-176213" algn="l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rPr>
                <a:t>CLM 048 Audit Readiness Requirements for DoD </a:t>
              </a:r>
              <a:endPara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</p:grpSp>
      <p:grpSp>
        <p:nvGrpSpPr>
          <p:cNvPr id="104" name="Group 103"/>
          <p:cNvGrpSpPr/>
          <p:nvPr/>
        </p:nvGrpSpPr>
        <p:grpSpPr>
          <a:xfrm>
            <a:off x="684645" y="3121550"/>
            <a:ext cx="3675634" cy="1328589"/>
            <a:chOff x="5484050" y="3488817"/>
            <a:chExt cx="3675634" cy="1328589"/>
          </a:xfrm>
        </p:grpSpPr>
        <p:sp>
          <p:nvSpPr>
            <p:cNvPr id="105" name="TextBox 104"/>
            <p:cNvSpPr txBox="1"/>
            <p:nvPr/>
          </p:nvSpPr>
          <p:spPr>
            <a:xfrm>
              <a:off x="5484050" y="4568107"/>
              <a:ext cx="3150002" cy="2492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8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Technical Data &amp; Intellectual Property</a:t>
              </a:r>
              <a:endPara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grpSp>
          <p:nvGrpSpPr>
            <p:cNvPr id="106" name="Group 105"/>
            <p:cNvGrpSpPr/>
            <p:nvPr/>
          </p:nvGrpSpPr>
          <p:grpSpPr>
            <a:xfrm>
              <a:off x="5801027" y="3488817"/>
              <a:ext cx="3358657" cy="1043033"/>
              <a:chOff x="5243052" y="1130982"/>
              <a:chExt cx="3358657" cy="1039085"/>
            </a:xfrm>
          </p:grpSpPr>
          <p:sp>
            <p:nvSpPr>
              <p:cNvPr id="108" name="Rounded Rectangle 107"/>
              <p:cNvSpPr/>
              <p:nvPr/>
            </p:nvSpPr>
            <p:spPr>
              <a:xfrm>
                <a:off x="5243052" y="1130982"/>
                <a:ext cx="2522991" cy="1039085"/>
              </a:xfrm>
              <a:prstGeom prst="round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>
                <a:glow rad="139700">
                  <a:schemeClr val="accent2">
                    <a:satMod val="175000"/>
                    <a:alpha val="40000"/>
                  </a:schemeClr>
                </a:glow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 Narrow"/>
                  <a:ea typeface="+mn-ea"/>
                  <a:cs typeface="+mn-cs"/>
                </a:endParaRPr>
              </a:p>
            </p:txBody>
          </p:sp>
          <p:sp>
            <p:nvSpPr>
              <p:cNvPr id="109" name="Rectangle 108"/>
              <p:cNvSpPr/>
              <p:nvPr/>
            </p:nvSpPr>
            <p:spPr>
              <a:xfrm>
                <a:off x="5310204" y="1133110"/>
                <a:ext cx="3291505" cy="103021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M 071 Introduction to Data Management  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M 072 Data Management Strategy Development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M 073 Data Management Planning System 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M 074 Tech Data &amp; Computer Software Rights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M 075 Data Acquisition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M 076 Data Markings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M 077 Data Management Protection and Storage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E 012 DoD Open Systems Architecture</a:t>
                </a:r>
              </a:p>
              <a:p>
                <a:pPr marL="176213" marR="0" lvl="0" indent="-176213" algn="l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rPr>
                  <a:t>CLE 068 Intellectual Property &amp; Data Rights </a:t>
                </a:r>
              </a:p>
            </p:txBody>
          </p:sp>
        </p:grpSp>
      </p:grpSp>
      <p:grpSp>
        <p:nvGrpSpPr>
          <p:cNvPr id="25" name="Group 24"/>
          <p:cNvGrpSpPr/>
          <p:nvPr/>
        </p:nvGrpSpPr>
        <p:grpSpPr>
          <a:xfrm>
            <a:off x="3045112" y="3040416"/>
            <a:ext cx="3945891" cy="1804975"/>
            <a:chOff x="3170881" y="4780368"/>
            <a:chExt cx="3945891" cy="1804975"/>
          </a:xfrm>
        </p:grpSpPr>
        <p:grpSp>
          <p:nvGrpSpPr>
            <p:cNvPr id="81" name="Group 80"/>
            <p:cNvGrpSpPr/>
            <p:nvPr/>
          </p:nvGrpSpPr>
          <p:grpSpPr>
            <a:xfrm>
              <a:off x="3170881" y="4780368"/>
              <a:ext cx="3150002" cy="841679"/>
              <a:chOff x="5603230" y="3454394"/>
              <a:chExt cx="3150002" cy="841679"/>
            </a:xfrm>
          </p:grpSpPr>
          <p:sp>
            <p:nvSpPr>
              <p:cNvPr id="82" name="TextBox 81"/>
              <p:cNvSpPr txBox="1"/>
              <p:nvPr/>
            </p:nvSpPr>
            <p:spPr>
              <a:xfrm>
                <a:off x="5603230" y="4046774"/>
                <a:ext cx="3150002" cy="2492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8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Product Support Metrics</a:t>
                </a:r>
                <a:endParaRPr kumimoji="0" lang="en-US" sz="1000" b="1" i="1" u="none" strike="noStrike" kern="1200" cap="none" spc="0" normalizeH="0" baseline="0" noProof="0" dirty="0">
                  <a:ln>
                    <a:noFill/>
                  </a:ln>
                  <a:solidFill>
                    <a:srgbClr val="008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83" name="Group 82"/>
              <p:cNvGrpSpPr/>
              <p:nvPr/>
            </p:nvGrpSpPr>
            <p:grpSpPr>
              <a:xfrm>
                <a:off x="6412603" y="3454394"/>
                <a:ext cx="1700177" cy="615553"/>
                <a:chOff x="5854628" y="1096692"/>
                <a:chExt cx="1700177" cy="613224"/>
              </a:xfrm>
            </p:grpSpPr>
            <p:sp>
              <p:nvSpPr>
                <p:cNvPr id="84" name="Rounded Rectangle 83"/>
                <p:cNvSpPr/>
                <p:nvPr/>
              </p:nvSpPr>
              <p:spPr>
                <a:xfrm>
                  <a:off x="5854628" y="1175965"/>
                  <a:ext cx="1498673" cy="505780"/>
                </a:xfrm>
                <a:prstGeom prst="roundRect">
                  <a:avLst/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>
                  <a:noFill/>
                </a:ln>
                <a:effectLst>
                  <a:glow rad="139700">
                    <a:schemeClr val="accent2">
                      <a:satMod val="175000"/>
                      <a:alpha val="40000"/>
                    </a:schemeClr>
                  </a:glow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Rectangle 85"/>
                <p:cNvSpPr/>
                <p:nvPr/>
              </p:nvSpPr>
              <p:spPr>
                <a:xfrm>
                  <a:off x="5854628" y="1096692"/>
                  <a:ext cx="1700177" cy="61322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endParaRPr>
                </a:p>
                <a:p>
                  <a:pPr marL="176213" marR="0" lvl="0" indent="-176213" algn="l" defTabSz="914400" rtl="0" eaLnBrk="0" fontAlgn="base" latinLnBrk="0" hangingPunct="0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99"/>
                      </a:solidFill>
                      <a:effectLst/>
                      <a:uLnTx/>
                      <a:uFillTx/>
                      <a:latin typeface="Arial Narrow"/>
                      <a:ea typeface="+mn-ea"/>
                      <a:cs typeface="+mn-cs"/>
                    </a:rPr>
                    <a:t>CLL 001 Life Cycle Mgmt &amp; Sustainment Metrics</a:t>
                  </a:r>
                </a:p>
                <a:p>
                  <a:pPr marL="176213" marR="0" lvl="0" indent="-176213" algn="l" defTabSz="914400" rtl="0" eaLnBrk="0" fontAlgn="base" latinLnBrk="0" hangingPunct="0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effectLst/>
                      <a:uLnTx/>
                      <a:uFillTx/>
                      <a:latin typeface="Arial Narrow"/>
                      <a:ea typeface="+mn-ea"/>
                      <a:cs typeface="+mn-cs"/>
                    </a:rPr>
                    <a:t>CLE 016 Outcome-Based Performance Measures</a:t>
                  </a:r>
                </a:p>
              </p:txBody>
            </p:sp>
          </p:grpSp>
        </p:grpSp>
        <p:grpSp>
          <p:nvGrpSpPr>
            <p:cNvPr id="88" name="Group 87"/>
            <p:cNvGrpSpPr/>
            <p:nvPr/>
          </p:nvGrpSpPr>
          <p:grpSpPr>
            <a:xfrm>
              <a:off x="3245608" y="5600042"/>
              <a:ext cx="3871164" cy="985301"/>
              <a:chOff x="6098356" y="3475992"/>
              <a:chExt cx="3871164" cy="985301"/>
            </a:xfrm>
          </p:grpSpPr>
          <p:sp>
            <p:nvSpPr>
              <p:cNvPr id="89" name="TextBox 88"/>
              <p:cNvSpPr txBox="1"/>
              <p:nvPr/>
            </p:nvSpPr>
            <p:spPr>
              <a:xfrm>
                <a:off x="6098356" y="4211994"/>
                <a:ext cx="3150002" cy="2492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8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Product Support Arrangements</a:t>
                </a:r>
                <a:endParaRPr kumimoji="0" lang="en-US" sz="1000" b="1" i="1" u="none" strike="noStrike" kern="1200" cap="none" spc="0" normalizeH="0" baseline="0" noProof="0" dirty="0">
                  <a:ln>
                    <a:noFill/>
                  </a:ln>
                  <a:solidFill>
                    <a:srgbClr val="008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90" name="Group 89"/>
              <p:cNvGrpSpPr/>
              <p:nvPr/>
            </p:nvGrpSpPr>
            <p:grpSpPr>
              <a:xfrm>
                <a:off x="6678015" y="3475992"/>
                <a:ext cx="3291505" cy="729344"/>
                <a:chOff x="6120040" y="1118204"/>
                <a:chExt cx="3291505" cy="726583"/>
              </a:xfrm>
            </p:grpSpPr>
            <p:sp>
              <p:nvSpPr>
                <p:cNvPr id="91" name="Rounded Rectangle 90"/>
                <p:cNvSpPr/>
                <p:nvPr/>
              </p:nvSpPr>
              <p:spPr>
                <a:xfrm>
                  <a:off x="6128429" y="1218773"/>
                  <a:ext cx="1873443" cy="626014"/>
                </a:xfrm>
                <a:prstGeom prst="roundRect">
                  <a:avLst/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>
                  <a:noFill/>
                </a:ln>
                <a:effectLst>
                  <a:glow rad="139700">
                    <a:schemeClr val="accent2">
                      <a:satMod val="175000"/>
                      <a:alpha val="40000"/>
                    </a:schemeClr>
                  </a:glow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Rectangle 94"/>
                <p:cNvSpPr/>
                <p:nvPr/>
              </p:nvSpPr>
              <p:spPr>
                <a:xfrm>
                  <a:off x="6120040" y="1118204"/>
                  <a:ext cx="3291505" cy="71747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endParaRPr>
                </a:p>
                <a:p>
                  <a:pPr marL="176213" marR="0" lvl="0" indent="-176213" algn="l" defTabSz="914400" rtl="0" eaLnBrk="0" fontAlgn="base" latinLnBrk="0" hangingPunct="0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99"/>
                      </a:solidFill>
                      <a:effectLst/>
                      <a:uLnTx/>
                      <a:uFillTx/>
                      <a:latin typeface="Arial Narrow"/>
                      <a:ea typeface="+mn-ea"/>
                      <a:cs typeface="+mn-cs"/>
                    </a:rPr>
                    <a:t>CLL 011 Performance Based </a:t>
                  </a:r>
                  <a:r>
                    <a:rPr kumimoji="0" lang="en-US" sz="8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99"/>
                      </a:solidFill>
                      <a:effectLst/>
                      <a:uLnTx/>
                      <a:uFillTx/>
                      <a:latin typeface="Arial Narrow"/>
                      <a:ea typeface="+mn-ea"/>
                      <a:cs typeface="+mn-cs"/>
                    </a:rPr>
                    <a:t>Logistics</a:t>
                  </a:r>
                  <a:endPara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99"/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endParaRPr>
                </a:p>
                <a:p>
                  <a:pPr marL="176213" marR="0" lvl="0" indent="-176213" algn="l" defTabSz="914400" rtl="0" eaLnBrk="0" fontAlgn="base" latinLnBrk="0" hangingPunct="0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99"/>
                      </a:solidFill>
                      <a:effectLst/>
                      <a:uLnTx/>
                      <a:uFillTx/>
                      <a:latin typeface="Arial Narrow"/>
                      <a:ea typeface="+mn-ea"/>
                      <a:cs typeface="+mn-cs"/>
                    </a:rPr>
                    <a:t>CLL 021 Product Support Arrangements </a:t>
                  </a:r>
                </a:p>
                <a:p>
                  <a:pPr marL="176213" marR="0" lvl="0" indent="-176213" algn="l" defTabSz="914400" rtl="0" eaLnBrk="0" fontAlgn="base" latinLnBrk="0" hangingPunct="0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99"/>
                      </a:solidFill>
                      <a:effectLst/>
                      <a:uLnTx/>
                      <a:uFillTx/>
                      <a:latin typeface="Arial Narrow"/>
                      <a:ea typeface="+mn-ea"/>
                      <a:cs typeface="+mn-cs"/>
                    </a:rPr>
                    <a:t>CLL 031 PBL Contracting Strategies</a:t>
                  </a:r>
                </a:p>
                <a:p>
                  <a:pPr marL="176213" marR="0" lvl="0" indent="-176213" algn="l" defTabSz="914400" rtl="0" eaLnBrk="0" fontAlgn="base" latinLnBrk="0" hangingPunct="0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effectLst/>
                      <a:uLnTx/>
                      <a:uFillTx/>
                      <a:latin typeface="Arial Narrow"/>
                      <a:ea typeface="+mn-ea"/>
                      <a:cs typeface="+mn-cs"/>
                    </a:rPr>
                    <a:t>CLC 011 Contracting for the Rest of Us</a:t>
                  </a:r>
                </a:p>
                <a:p>
                  <a:pPr marL="176213" marR="0" lvl="0" indent="-176213" algn="l" defTabSz="914400" rtl="0" eaLnBrk="0" fontAlgn="base" latinLnBrk="0" hangingPunct="0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effectLst/>
                      <a:uLnTx/>
                      <a:uFillTx/>
                      <a:latin typeface="Arial Narrow"/>
                      <a:ea typeface="+mn-ea"/>
                      <a:cs typeface="+mn-cs"/>
                    </a:rPr>
                    <a:t>CLC 013 Services Acquisition</a:t>
                  </a:r>
                </a:p>
              </p:txBody>
            </p:sp>
          </p:grpSp>
        </p:grpSp>
      </p:grpSp>
      <p:grpSp>
        <p:nvGrpSpPr>
          <p:cNvPr id="9" name="Group 8"/>
          <p:cNvGrpSpPr/>
          <p:nvPr/>
        </p:nvGrpSpPr>
        <p:grpSpPr>
          <a:xfrm>
            <a:off x="3093030" y="5036008"/>
            <a:ext cx="3795178" cy="1522927"/>
            <a:chOff x="3093030" y="5084347"/>
            <a:chExt cx="3795178" cy="1522927"/>
          </a:xfrm>
        </p:grpSpPr>
        <p:grpSp>
          <p:nvGrpSpPr>
            <p:cNvPr id="99" name="Group 98"/>
            <p:cNvGrpSpPr/>
            <p:nvPr/>
          </p:nvGrpSpPr>
          <p:grpSpPr>
            <a:xfrm>
              <a:off x="3130363" y="5084347"/>
              <a:ext cx="3475957" cy="898525"/>
              <a:chOff x="5423320" y="3413771"/>
              <a:chExt cx="3475957" cy="898525"/>
            </a:xfrm>
          </p:grpSpPr>
          <p:sp>
            <p:nvSpPr>
              <p:cNvPr id="100" name="TextBox 99"/>
              <p:cNvSpPr txBox="1"/>
              <p:nvPr/>
            </p:nvSpPr>
            <p:spPr>
              <a:xfrm>
                <a:off x="5423320" y="4062997"/>
                <a:ext cx="3150002" cy="2492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8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Product Support Affordability</a:t>
                </a:r>
                <a:endParaRPr kumimoji="0" lang="en-US" sz="1000" b="1" i="1" u="none" strike="noStrike" kern="1200" cap="none" spc="0" normalizeH="0" baseline="0" noProof="0" dirty="0">
                  <a:ln>
                    <a:noFill/>
                  </a:ln>
                  <a:solidFill>
                    <a:srgbClr val="008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101" name="Group 100"/>
              <p:cNvGrpSpPr/>
              <p:nvPr/>
            </p:nvGrpSpPr>
            <p:grpSpPr>
              <a:xfrm>
                <a:off x="5876568" y="3413771"/>
                <a:ext cx="3022709" cy="636168"/>
                <a:chOff x="5318593" y="1056225"/>
                <a:chExt cx="3022709" cy="633762"/>
              </a:xfrm>
            </p:grpSpPr>
            <p:sp>
              <p:nvSpPr>
                <p:cNvPr id="102" name="Rounded Rectangle 101"/>
                <p:cNvSpPr/>
                <p:nvPr/>
              </p:nvSpPr>
              <p:spPr>
                <a:xfrm>
                  <a:off x="5345607" y="1056225"/>
                  <a:ext cx="2075920" cy="633762"/>
                </a:xfrm>
                <a:prstGeom prst="roundRect">
                  <a:avLst/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>
                  <a:noFill/>
                </a:ln>
                <a:effectLst>
                  <a:glow rad="139700">
                    <a:schemeClr val="accent2">
                      <a:satMod val="175000"/>
                      <a:alpha val="40000"/>
                    </a:schemeClr>
                  </a:glow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Rectangle 102"/>
                <p:cNvSpPr/>
                <p:nvPr/>
              </p:nvSpPr>
              <p:spPr>
                <a:xfrm>
                  <a:off x="5318593" y="1067370"/>
                  <a:ext cx="3022709" cy="61322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176213" marR="0" lvl="0" indent="-176213" algn="l" defTabSz="914400" rtl="0" eaLnBrk="0" fontAlgn="base" latinLnBrk="0" hangingPunct="0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8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effectLst/>
                      <a:uLnTx/>
                      <a:uFillTx/>
                      <a:latin typeface="Arial Narrow"/>
                      <a:ea typeface="+mn-ea"/>
                      <a:cs typeface="+mn-cs"/>
                    </a:rPr>
                    <a:t>CLB </a:t>
                  </a:r>
                  <a:r>
                    <a:rPr kumimoji="0" lang="en-US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effectLst/>
                      <a:uLnTx/>
                      <a:uFillTx/>
                      <a:latin typeface="Arial Narrow"/>
                      <a:ea typeface="+mn-ea"/>
                      <a:cs typeface="+mn-cs"/>
                    </a:rPr>
                    <a:t>025 Total Ownership Cost</a:t>
                  </a:r>
                </a:p>
                <a:p>
                  <a:pPr marL="176213" marR="0" lvl="0" indent="-176213" algn="l" defTabSz="914400" rtl="0" eaLnBrk="0" fontAlgn="base" latinLnBrk="0" hangingPunct="0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effectLst/>
                      <a:uLnTx/>
                      <a:uFillTx/>
                      <a:latin typeface="Arial Narrow"/>
                      <a:ea typeface="+mn-ea"/>
                      <a:cs typeface="+mn-cs"/>
                    </a:rPr>
                    <a:t>CLB 040 Should Cost Management</a:t>
                  </a:r>
                </a:p>
                <a:p>
                  <a:pPr marL="176213" marR="0" lvl="0" indent="-176213" algn="l" defTabSz="914400" rtl="0" eaLnBrk="0" fontAlgn="base" latinLnBrk="0" hangingPunct="0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effectLst/>
                      <a:uLnTx/>
                      <a:uFillTx/>
                      <a:latin typeface="Arial Narrow"/>
                      <a:ea typeface="+mn-ea"/>
                      <a:cs typeface="+mn-cs"/>
                    </a:rPr>
                    <a:t>CLM 021 </a:t>
                  </a:r>
                  <a:r>
                    <a:rPr kumimoji="0" lang="en-US" sz="8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effectLst/>
                      <a:uLnTx/>
                      <a:uFillTx/>
                      <a:latin typeface="Arial Narrow"/>
                      <a:ea typeface="+mn-ea"/>
                      <a:cs typeface="+mn-cs"/>
                    </a:rPr>
                    <a:t>Reducing </a:t>
                  </a:r>
                  <a:r>
                    <a:rPr kumimoji="0" lang="en-US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effectLst/>
                      <a:uLnTx/>
                      <a:uFillTx/>
                      <a:latin typeface="Arial Narrow"/>
                      <a:ea typeface="+mn-ea"/>
                      <a:cs typeface="+mn-cs"/>
                    </a:rPr>
                    <a:t>Total Ownership Costs </a:t>
                  </a:r>
                  <a:endParaRPr kumimoji="0" lang="en-US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endParaRPr>
                </a:p>
                <a:p>
                  <a:pPr marL="176213" marR="0" lvl="0" indent="-176213" algn="l" defTabSz="914400" rtl="0" eaLnBrk="0" fontAlgn="base" latinLnBrk="0" hangingPunct="0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8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effectLst/>
                      <a:uLnTx/>
                      <a:uFillTx/>
                      <a:latin typeface="Arial Narrow"/>
                      <a:ea typeface="+mn-ea"/>
                      <a:cs typeface="+mn-cs"/>
                    </a:rPr>
                    <a:t>CLM </a:t>
                  </a:r>
                  <a:r>
                    <a:rPr kumimoji="0" lang="en-US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effectLst/>
                      <a:uLnTx/>
                      <a:uFillTx/>
                      <a:latin typeface="Arial Narrow"/>
                      <a:ea typeface="+mn-ea"/>
                      <a:cs typeface="+mn-cs"/>
                    </a:rPr>
                    <a:t>032 Evolutionary </a:t>
                  </a:r>
                  <a:r>
                    <a:rPr kumimoji="0" lang="en-US" sz="8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effectLst/>
                      <a:uLnTx/>
                      <a:uFillTx/>
                      <a:latin typeface="Arial Narrow"/>
                      <a:ea typeface="+mn-ea"/>
                      <a:cs typeface="+mn-cs"/>
                    </a:rPr>
                    <a:t>Acquisition</a:t>
                  </a:r>
                </a:p>
                <a:p>
                  <a:pPr marL="176213" marR="0" lvl="0" indent="-176213" algn="l" defTabSz="914400" rtl="0" eaLnBrk="0" fontAlgn="base" latinLnBrk="0" hangingPunct="0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8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>
                          <a:lumMod val="95000"/>
                          <a:lumOff val="5000"/>
                        </a:prstClr>
                      </a:solidFill>
                      <a:effectLst/>
                      <a:uLnTx/>
                      <a:uFillTx/>
                      <a:latin typeface="Arial Narrow"/>
                      <a:ea typeface="+mn-ea"/>
                      <a:cs typeface="+mn-cs"/>
                    </a:rPr>
                    <a:t>CLE 015 Continuous Process Improvement</a:t>
                  </a:r>
                  <a:endParaRPr kumimoji="0" lang="en-US" sz="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2" name="Group 21"/>
            <p:cNvGrpSpPr/>
            <p:nvPr/>
          </p:nvGrpSpPr>
          <p:grpSpPr>
            <a:xfrm>
              <a:off x="3093030" y="6039375"/>
              <a:ext cx="3795178" cy="567899"/>
              <a:chOff x="5523189" y="5993854"/>
              <a:chExt cx="3795178" cy="567899"/>
            </a:xfrm>
          </p:grpSpPr>
          <p:sp>
            <p:nvSpPr>
              <p:cNvPr id="111" name="TextBox 110"/>
              <p:cNvSpPr txBox="1"/>
              <p:nvPr/>
            </p:nvSpPr>
            <p:spPr>
              <a:xfrm>
                <a:off x="5523189" y="6312454"/>
                <a:ext cx="3150002" cy="2492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8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Integrated Product Support</a:t>
                </a:r>
                <a:endParaRPr kumimoji="0" lang="en-US" sz="1000" b="1" i="1" u="none" strike="noStrike" kern="1200" cap="none" spc="0" normalizeH="0" baseline="0" noProof="0" dirty="0">
                  <a:ln>
                    <a:noFill/>
                  </a:ln>
                  <a:solidFill>
                    <a:srgbClr val="008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112" name="Group 111"/>
              <p:cNvGrpSpPr/>
              <p:nvPr/>
            </p:nvGrpSpPr>
            <p:grpSpPr>
              <a:xfrm>
                <a:off x="6026862" y="5993854"/>
                <a:ext cx="3291505" cy="308290"/>
                <a:chOff x="6173607" y="1272426"/>
                <a:chExt cx="3291505" cy="307125"/>
              </a:xfrm>
            </p:grpSpPr>
            <p:sp>
              <p:nvSpPr>
                <p:cNvPr id="113" name="Rounded Rectangle 112"/>
                <p:cNvSpPr/>
                <p:nvPr/>
              </p:nvSpPr>
              <p:spPr>
                <a:xfrm>
                  <a:off x="6178660" y="1272426"/>
                  <a:ext cx="2105151" cy="288689"/>
                </a:xfrm>
                <a:prstGeom prst="roundRect">
                  <a:avLst/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>
                  <a:noFill/>
                </a:ln>
                <a:effectLst>
                  <a:glow rad="139700">
                    <a:schemeClr val="accent2">
                      <a:satMod val="175000"/>
                      <a:alpha val="40000"/>
                    </a:schemeClr>
                  </a:glow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95000"/>
                        <a:lumOff val="5000"/>
                      </a:prstClr>
                    </a:solidFill>
                    <a:effectLst/>
                    <a:uLnTx/>
                    <a:uFillTx/>
                    <a:latin typeface="Arial Narrow"/>
                    <a:ea typeface="+mn-ea"/>
                    <a:cs typeface="+mn-cs"/>
                  </a:endParaRPr>
                </a:p>
              </p:txBody>
            </p:sp>
            <p:sp>
              <p:nvSpPr>
                <p:cNvPr id="114" name="Rectangle 113"/>
                <p:cNvSpPr/>
                <p:nvPr/>
              </p:nvSpPr>
              <p:spPr>
                <a:xfrm>
                  <a:off x="6173607" y="1279072"/>
                  <a:ext cx="3291505" cy="30047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176213" marR="0" lvl="0" indent="-176213" algn="l" defTabSz="914400" rtl="0" eaLnBrk="0" fontAlgn="base" latinLnBrk="0" hangingPunct="0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99"/>
                      </a:solidFill>
                      <a:effectLst/>
                      <a:uLnTx/>
                      <a:uFillTx/>
                      <a:latin typeface="Arial Narrow"/>
                      <a:ea typeface="+mn-ea"/>
                      <a:cs typeface="+mn-cs"/>
                    </a:rPr>
                    <a:t>CLL 004 Life Cycle Logistics for </a:t>
                  </a:r>
                  <a:r>
                    <a:rPr kumimoji="0" lang="en-US" sz="8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99"/>
                      </a:solidFill>
                      <a:effectLst/>
                      <a:uLnTx/>
                      <a:uFillTx/>
                      <a:latin typeface="Arial Narrow"/>
                      <a:ea typeface="+mn-ea"/>
                      <a:cs typeface="+mn-cs"/>
                    </a:rPr>
                    <a:t>Rest </a:t>
                  </a:r>
                  <a:r>
                    <a:rPr kumimoji="0" lang="en-US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99"/>
                      </a:solidFill>
                      <a:effectLst/>
                      <a:uLnTx/>
                      <a:uFillTx/>
                      <a:latin typeface="Arial Narrow"/>
                      <a:ea typeface="+mn-ea"/>
                      <a:cs typeface="+mn-cs"/>
                    </a:rPr>
                    <a:t>of Us</a:t>
                  </a:r>
                </a:p>
                <a:p>
                  <a:pPr marL="176213" marR="0" lvl="0" indent="-176213" algn="l" defTabSz="914400" rtl="0" eaLnBrk="0" fontAlgn="base" latinLnBrk="0" hangingPunct="0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99"/>
                      </a:solidFill>
                      <a:effectLst/>
                      <a:uLnTx/>
                      <a:uFillTx/>
                      <a:latin typeface="Arial Narrow"/>
                      <a:ea typeface="+mn-ea"/>
                      <a:cs typeface="+mn-cs"/>
                    </a:rPr>
                    <a:t>CLL 046 The Twelve IPS Elements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74090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206187" y="1018331"/>
            <a:ext cx="1084730" cy="5589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Title 1"/>
          <p:cNvSpPr txBox="1">
            <a:spLocks/>
          </p:cNvSpPr>
          <p:nvPr/>
        </p:nvSpPr>
        <p:spPr>
          <a:xfrm>
            <a:off x="719556" y="39420"/>
            <a:ext cx="7856537" cy="637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Arial" pitchFamily="34" charset="0"/>
              </a:rPr>
              <a:t>Aligned &amp; Integrated Suite of DoD Product Support Guidanc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00" b="1" i="1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Arial" pitchFamily="34" charset="0"/>
              </a:rPr>
              <a:t>…Reinforced by Portfolio of Targeted DAU Learning Assets</a:t>
            </a:r>
            <a:endParaRPr kumimoji="0" lang="en-US" sz="2300" b="1" i="1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Arial" pitchFamily="34" charset="0"/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6174838" y="865816"/>
            <a:ext cx="2895084" cy="967907"/>
            <a:chOff x="5489798" y="1237341"/>
            <a:chExt cx="3341298" cy="1334263"/>
          </a:xfrm>
          <a:solidFill>
            <a:srgbClr val="CCECFF"/>
          </a:solidFill>
        </p:grpSpPr>
        <p:sp>
          <p:nvSpPr>
            <p:cNvPr id="42" name="Rectangle 41"/>
            <p:cNvSpPr/>
            <p:nvPr/>
          </p:nvSpPr>
          <p:spPr>
            <a:xfrm>
              <a:off x="5489798" y="1237341"/>
              <a:ext cx="3341298" cy="1334263"/>
            </a:xfrm>
            <a:prstGeom prst="rect">
              <a:avLst/>
            </a:prstGeom>
            <a:grp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5528551" y="1246235"/>
              <a:ext cx="3302545" cy="13084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sng" strike="noStrike" kern="120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Common Themes</a:t>
              </a:r>
              <a:r>
                <a:rPr kumimoji="0" lang="en-US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: affordability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, effectiveness, integration, </a:t>
              </a:r>
              <a:r>
                <a:rPr kumimoji="0" lang="en-US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outcomes, life 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cycle </a:t>
              </a:r>
              <a:r>
                <a:rPr kumimoji="0" lang="en-US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management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sng" strike="noStrike" kern="120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Focus</a:t>
              </a:r>
              <a:r>
                <a:rPr kumimoji="0" lang="en-US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: crafting &amp; executing well-thought 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out, affordable product support strategies </a:t>
              </a:r>
              <a:r>
                <a:rPr kumimoji="0" lang="en-US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to meet 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warfighter readiness </a:t>
              </a:r>
              <a:r>
                <a:rPr kumimoji="0" lang="en-US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&amp; cost requirements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1834879" y="1078084"/>
            <a:ext cx="5468981" cy="5775071"/>
            <a:chOff x="1878840" y="1030459"/>
            <a:chExt cx="5468981" cy="5775071"/>
          </a:xfrm>
        </p:grpSpPr>
        <p:cxnSp>
          <p:nvCxnSpPr>
            <p:cNvPr id="57" name="Straight Connector 56"/>
            <p:cNvCxnSpPr>
              <a:stCxn id="20" idx="6"/>
            </p:cNvCxnSpPr>
            <p:nvPr/>
          </p:nvCxnSpPr>
          <p:spPr>
            <a:xfrm flipV="1">
              <a:off x="3254179" y="2062216"/>
              <a:ext cx="1831816" cy="3152177"/>
            </a:xfrm>
            <a:prstGeom prst="line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72" name="Group 71"/>
            <p:cNvGrpSpPr/>
            <p:nvPr/>
          </p:nvGrpSpPr>
          <p:grpSpPr>
            <a:xfrm>
              <a:off x="3216789" y="1030459"/>
              <a:ext cx="1868604" cy="1125196"/>
              <a:chOff x="4031515" y="207723"/>
              <a:chExt cx="2491471" cy="1500260"/>
            </a:xfrm>
          </p:grpSpPr>
          <p:pic>
            <p:nvPicPr>
              <p:cNvPr id="7" name="Picture 2">
                <a:hlinkClick r:id="rId4"/>
              </p:cNvPr>
              <p:cNvPicPr>
                <a:picLocks noChangeAspect="1" noChangeArrowheads="1"/>
              </p:cNvPicPr>
              <p:nvPr>
                <p:custDataLst>
                  <p:tags r:id="rId1"/>
                </p:custDataLst>
              </p:nvPr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44235" y="207723"/>
                <a:ext cx="637040" cy="802643"/>
              </a:xfrm>
              <a:prstGeom prst="rect">
                <a:avLst/>
              </a:prstGeom>
              <a:ln w="19050">
                <a:solidFill>
                  <a:srgbClr val="003366"/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sp>
            <p:nvSpPr>
              <p:cNvPr id="71" name="TextBox 70"/>
              <p:cNvSpPr txBox="1"/>
              <p:nvPr/>
            </p:nvSpPr>
            <p:spPr>
              <a:xfrm>
                <a:off x="4031515" y="1009330"/>
                <a:ext cx="2491471" cy="6986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PSM </a:t>
                </a:r>
                <a:r>
                  <a:rPr kumimoji="0" lang="en-US" sz="825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Guidebook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F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Product Support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F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Key Reference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4" name="Group 3"/>
            <p:cNvGrpSpPr/>
            <p:nvPr/>
          </p:nvGrpSpPr>
          <p:grpSpPr>
            <a:xfrm>
              <a:off x="5663826" y="1964878"/>
              <a:ext cx="1581105" cy="1057383"/>
              <a:chOff x="5470678" y="2060677"/>
              <a:chExt cx="1581105" cy="1057383"/>
            </a:xfrm>
          </p:grpSpPr>
          <p:pic>
            <p:nvPicPr>
              <p:cNvPr id="73" name="Picture 3" descr="C:\Users\boycejc\Pictures\PBl Guidebook Cover.png">
                <a:hlinkClick r:id="rId6"/>
              </p:cNvPr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025651" y="2060677"/>
                <a:ext cx="413255" cy="520812"/>
              </a:xfrm>
              <a:prstGeom prst="rect">
                <a:avLst/>
              </a:prstGeom>
              <a:ln w="19050">
                <a:solidFill>
                  <a:srgbClr val="003366"/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4" name="TextBox 73"/>
              <p:cNvSpPr txBox="1"/>
              <p:nvPr/>
            </p:nvSpPr>
            <p:spPr>
              <a:xfrm>
                <a:off x="5470678" y="2594070"/>
                <a:ext cx="1581105" cy="5239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PBL </a:t>
                </a:r>
                <a:r>
                  <a:rPr kumimoji="0" lang="en-US" sz="825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Guidebook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F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Product Support </a:t>
                </a:r>
                <a:endParaRPr kumimoji="0" lang="en-US" sz="825" b="1" i="1" u="none" strike="noStrike" kern="1200" cap="none" spc="0" normalizeH="0" baseline="0" noProof="0" dirty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F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Arrangements</a:t>
                </a:r>
                <a:endParaRPr kumimoji="0" lang="en-US" sz="825" b="1" i="1" u="none" strike="noStrike" kern="1200" cap="none" spc="0" normalizeH="0" baseline="0" noProof="0" dirty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53" name="Group 52"/>
            <p:cNvGrpSpPr/>
            <p:nvPr/>
          </p:nvGrpSpPr>
          <p:grpSpPr>
            <a:xfrm>
              <a:off x="1878840" y="3052735"/>
              <a:ext cx="944002" cy="1113137"/>
              <a:chOff x="1878840" y="3052735"/>
              <a:chExt cx="944002" cy="1113137"/>
            </a:xfrm>
          </p:grpSpPr>
          <p:pic>
            <p:nvPicPr>
              <p:cNvPr id="75" name="Picture 5">
                <a:hlinkClick r:id="rId8"/>
              </p:cNvPr>
              <p:cNvPicPr>
                <a:picLocks noChangeAspect="1" noChangeArrowheads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58030" y="3052735"/>
                <a:ext cx="680693" cy="829466"/>
              </a:xfrm>
              <a:prstGeom prst="rect">
                <a:avLst/>
              </a:prstGeom>
              <a:ln w="19050"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sp>
            <p:nvSpPr>
              <p:cNvPr id="76" name="TextBox 75"/>
              <p:cNvSpPr txBox="1"/>
              <p:nvPr/>
            </p:nvSpPr>
            <p:spPr>
              <a:xfrm>
                <a:off x="1878840" y="3749796"/>
                <a:ext cx="944002" cy="4160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BCA </a:t>
                </a:r>
                <a:r>
                  <a:rPr kumimoji="0" lang="en-US" sz="825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Guidebook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F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COA Guidance</a:t>
                </a:r>
                <a:endParaRPr kumimoji="0" lang="en-US" sz="825" b="1" i="1" u="none" strike="noStrike" kern="1200" cap="none" spc="0" normalizeH="0" baseline="0" noProof="0" dirty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5" name="Group 14"/>
            <p:cNvGrpSpPr/>
            <p:nvPr/>
          </p:nvGrpSpPr>
          <p:grpSpPr>
            <a:xfrm>
              <a:off x="6403819" y="3092245"/>
              <a:ext cx="944002" cy="961698"/>
              <a:chOff x="6210671" y="3092245"/>
              <a:chExt cx="944002" cy="961698"/>
            </a:xfrm>
          </p:grpSpPr>
          <p:pic>
            <p:nvPicPr>
              <p:cNvPr id="77" name="Picture 3">
                <a:hlinkClick r:id="rId10"/>
              </p:cNvPr>
              <p:cNvPicPr>
                <a:picLocks noChangeAspect="1" noChangeArrowheads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55934" y="3092245"/>
                <a:ext cx="422578" cy="543608"/>
              </a:xfrm>
              <a:prstGeom prst="rect">
                <a:avLst/>
              </a:prstGeom>
              <a:ln w="19050">
                <a:solidFill>
                  <a:srgbClr val="003366"/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sp>
            <p:nvSpPr>
              <p:cNvPr id="78" name="TextBox 77"/>
              <p:cNvSpPr txBox="1"/>
              <p:nvPr/>
            </p:nvSpPr>
            <p:spPr>
              <a:xfrm>
                <a:off x="6210671" y="3637867"/>
                <a:ext cx="944002" cy="4160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PPP </a:t>
                </a:r>
                <a:r>
                  <a:rPr kumimoji="0" lang="en-US" sz="825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Guidebook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F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Partnership Development</a:t>
                </a:r>
                <a:endParaRPr kumimoji="0" lang="en-US" sz="825" b="1" i="1" u="none" strike="noStrike" kern="1200" cap="none" spc="0" normalizeH="0" baseline="0" noProof="0" dirty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56" name="Group 55"/>
            <p:cNvGrpSpPr/>
            <p:nvPr/>
          </p:nvGrpSpPr>
          <p:grpSpPr>
            <a:xfrm>
              <a:off x="2108380" y="1807019"/>
              <a:ext cx="1309115" cy="1343441"/>
              <a:chOff x="2108380" y="1807019"/>
              <a:chExt cx="1309115" cy="1343441"/>
            </a:xfrm>
          </p:grpSpPr>
          <p:pic>
            <p:nvPicPr>
              <p:cNvPr id="79" name="Picture 5">
                <a:hlinkClick r:id="rId12"/>
              </p:cNvPr>
              <p:cNvPicPr>
                <a:picLocks noChangeAspect="1" noChangeArrowheads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22183" y="1807019"/>
                <a:ext cx="680693" cy="829466"/>
              </a:xfrm>
              <a:prstGeom prst="rect">
                <a:avLst/>
              </a:prstGeom>
              <a:ln w="9525">
                <a:noFill/>
                <a:miter lim="800000"/>
                <a:headEnd/>
                <a:tailEnd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sp>
            <p:nvSpPr>
              <p:cNvPr id="80" name="TextBox 79"/>
              <p:cNvSpPr txBox="1"/>
              <p:nvPr/>
            </p:nvSpPr>
            <p:spPr>
              <a:xfrm>
                <a:off x="2108380" y="2518556"/>
                <a:ext cx="1309115" cy="6319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O&amp;S Cost Mgmt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Guidebook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F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Cost 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F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Guidance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6384803" y="4074220"/>
              <a:ext cx="944002" cy="1169164"/>
              <a:chOff x="6191655" y="4074220"/>
              <a:chExt cx="944002" cy="1169164"/>
            </a:xfrm>
          </p:grpSpPr>
          <p:pic>
            <p:nvPicPr>
              <p:cNvPr id="81" name="Picture 5">
                <a:hlinkClick r:id="rId13"/>
              </p:cNvPr>
              <p:cNvPicPr>
                <a:picLocks noChangeAspect="1" noChangeArrowheads="1"/>
              </p:cNvPicPr>
              <p:nvPr/>
            </p:nvPicPr>
            <p:blipFill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44060" y="4074220"/>
                <a:ext cx="425355" cy="566917"/>
              </a:xfrm>
              <a:prstGeom prst="rect">
                <a:avLst/>
              </a:prstGeom>
              <a:ln w="19050">
                <a:solidFill>
                  <a:srgbClr val="003366"/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sp>
            <p:nvSpPr>
              <p:cNvPr id="82" name="TextBox 81"/>
              <p:cNvSpPr txBox="1"/>
              <p:nvPr/>
            </p:nvSpPr>
            <p:spPr>
              <a:xfrm>
                <a:off x="6191655" y="4719394"/>
                <a:ext cx="944002" cy="5239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ILA </a:t>
                </a:r>
                <a:r>
                  <a:rPr kumimoji="0" lang="en-US" sz="825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Guidebook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F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Product Support Readiness</a:t>
                </a:r>
                <a:endParaRPr kumimoji="0" lang="en-US" sz="825" b="1" i="1" u="none" strike="noStrike" kern="1200" cap="none" spc="0" normalizeH="0" baseline="0" noProof="0" dirty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1" name="Group 10"/>
            <p:cNvGrpSpPr/>
            <p:nvPr/>
          </p:nvGrpSpPr>
          <p:grpSpPr>
            <a:xfrm>
              <a:off x="5037776" y="5617375"/>
              <a:ext cx="944002" cy="1188155"/>
              <a:chOff x="4844628" y="5617375"/>
              <a:chExt cx="944002" cy="1188155"/>
            </a:xfrm>
          </p:grpSpPr>
          <p:pic>
            <p:nvPicPr>
              <p:cNvPr id="43" name="Picture 42">
                <a:hlinkClick r:id="rId15"/>
              </p:cNvPr>
              <p:cNvPicPr>
                <a:picLocks noChangeAspect="1"/>
              </p:cNvPicPr>
              <p:nvPr/>
            </p:nvPicPr>
            <p:blipFill>
              <a:blip r:embed="rId1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084461" y="5617375"/>
                <a:ext cx="409702" cy="523256"/>
              </a:xfrm>
              <a:prstGeom prst="rect">
                <a:avLst/>
              </a:prstGeom>
              <a:ln w="19050">
                <a:solidFill>
                  <a:srgbClr val="003366"/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sp>
            <p:nvSpPr>
              <p:cNvPr id="45" name="TextBox 44"/>
              <p:cNvSpPr txBox="1"/>
              <p:nvPr/>
            </p:nvSpPr>
            <p:spPr>
              <a:xfrm>
                <a:off x="4844628" y="6173626"/>
                <a:ext cx="944002" cy="6319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RAM-C Report Manual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F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Design for Supportability</a:t>
                </a:r>
                <a:endParaRPr kumimoji="0" lang="en-US" sz="825" b="1" i="1" u="none" strike="noStrike" kern="1200" cap="none" spc="0" normalizeH="0" baseline="0" noProof="0" dirty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 </a:t>
                </a:r>
                <a:endPara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3096716" y="5613239"/>
              <a:ext cx="1321467" cy="1192291"/>
              <a:chOff x="2903568" y="5613239"/>
              <a:chExt cx="1321467" cy="1192291"/>
            </a:xfrm>
          </p:grpSpPr>
          <p:pic>
            <p:nvPicPr>
              <p:cNvPr id="46" name="Picture 2">
                <a:hlinkClick r:id="rId17"/>
              </p:cNvPr>
              <p:cNvPicPr>
                <a:picLocks noChangeAspect="1" noChangeArrowheads="1"/>
              </p:cNvPicPr>
              <p:nvPr/>
            </p:nvPicPr>
            <p:blipFill>
              <a:blip r:embed="rId1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64075" y="5613239"/>
                <a:ext cx="408379" cy="527392"/>
              </a:xfrm>
              <a:prstGeom prst="rect">
                <a:avLst/>
              </a:prstGeom>
              <a:ln w="19050">
                <a:solidFill>
                  <a:srgbClr val="003366"/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sp>
            <p:nvSpPr>
              <p:cNvPr id="47" name="TextBox 46"/>
              <p:cNvSpPr txBox="1"/>
              <p:nvPr/>
            </p:nvSpPr>
            <p:spPr>
              <a:xfrm>
                <a:off x="2903568" y="6173626"/>
                <a:ext cx="1321467" cy="6319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MIL-HDBK-502A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Product Support Analysis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F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Supportability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F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Analysis Process</a:t>
                </a:r>
                <a:endParaRPr kumimoji="0" lang="en-US" sz="825" b="1" i="1" u="none" strike="noStrike" kern="1200" cap="none" spc="0" normalizeH="0" baseline="0" noProof="0" dirty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9" name="Group 58"/>
          <p:cNvGrpSpPr/>
          <p:nvPr/>
        </p:nvGrpSpPr>
        <p:grpSpPr>
          <a:xfrm>
            <a:off x="76402" y="872268"/>
            <a:ext cx="2845165" cy="955646"/>
            <a:chOff x="5489798" y="1237340"/>
            <a:chExt cx="3341298" cy="1343333"/>
          </a:xfrm>
        </p:grpSpPr>
        <p:sp>
          <p:nvSpPr>
            <p:cNvPr id="61" name="Rectangle 60"/>
            <p:cNvSpPr/>
            <p:nvPr/>
          </p:nvSpPr>
          <p:spPr>
            <a:xfrm>
              <a:off x="5489798" y="1237340"/>
              <a:ext cx="3341298" cy="134333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sng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Overarching Policy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: DoDI 5000.02, Enclosure 6 &amp; DoD Life Cycle Sustainment Plan (LCSP) </a:t>
              </a:r>
              <a:r>
                <a:rPr kumimoji="0" lang="en-US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Outline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sng" strike="noStrike" kern="120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Key Players</a:t>
              </a:r>
              <a:r>
                <a:rPr kumimoji="0" lang="en-US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: product support managers, life cycle logisticians, program managers, systems &amp; sustaining engineers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5489798" y="1237341"/>
              <a:ext cx="3341298" cy="1334263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-278685" y="2098946"/>
            <a:ext cx="1940032" cy="4596144"/>
            <a:chOff x="-50090" y="2371507"/>
            <a:chExt cx="1940032" cy="4596144"/>
          </a:xfrm>
        </p:grpSpPr>
        <p:grpSp>
          <p:nvGrpSpPr>
            <p:cNvPr id="24" name="Group 23"/>
            <p:cNvGrpSpPr/>
            <p:nvPr/>
          </p:nvGrpSpPr>
          <p:grpSpPr>
            <a:xfrm>
              <a:off x="-50090" y="2957441"/>
              <a:ext cx="1940032" cy="4010210"/>
              <a:chOff x="301601" y="2640918"/>
              <a:chExt cx="1940032" cy="4010210"/>
            </a:xfrm>
          </p:grpSpPr>
          <p:sp>
            <p:nvSpPr>
              <p:cNvPr id="86" name="TextBox 85"/>
              <p:cNvSpPr txBox="1"/>
              <p:nvPr/>
            </p:nvSpPr>
            <p:spPr>
              <a:xfrm>
                <a:off x="336062" y="2640918"/>
                <a:ext cx="1868604" cy="5239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LOG CoP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8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Logistics Community &amp;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8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Knowledge Repository</a:t>
                </a:r>
                <a:endParaRPr kumimoji="0" lang="en-US" sz="825" b="1" i="1" u="none" strike="noStrike" kern="1200" cap="none" spc="0" normalizeH="0" baseline="0" noProof="0" dirty="0">
                  <a:ln>
                    <a:noFill/>
                  </a:ln>
                  <a:solidFill>
                    <a:srgbClr val="008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TextBox 86"/>
              <p:cNvSpPr txBox="1"/>
              <p:nvPr/>
            </p:nvSpPr>
            <p:spPr>
              <a:xfrm>
                <a:off x="301601" y="3637734"/>
                <a:ext cx="1868604" cy="5239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PBL CoP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8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PBL Community &amp;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8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Knowledge Repository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TextBox 89"/>
              <p:cNvSpPr txBox="1"/>
              <p:nvPr/>
            </p:nvSpPr>
            <p:spPr>
              <a:xfrm>
                <a:off x="315934" y="4966110"/>
                <a:ext cx="1868604" cy="5239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Analytical Tools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8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Product Support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8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Tools Database</a:t>
                </a:r>
                <a:endParaRPr kumimoji="0" lang="en-US" sz="825" b="1" i="1" u="none" strike="noStrike" kern="1200" cap="none" spc="0" normalizeH="0" baseline="0" noProof="0" dirty="0">
                  <a:ln>
                    <a:noFill/>
                  </a:ln>
                  <a:solidFill>
                    <a:srgbClr val="008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TextBox 90"/>
              <p:cNvSpPr txBox="1"/>
              <p:nvPr/>
            </p:nvSpPr>
            <p:spPr>
              <a:xfrm>
                <a:off x="373029" y="6127138"/>
                <a:ext cx="1868604" cy="5239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Product Support Strategy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Development Tool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8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12-Step Implementation Tool</a:t>
                </a:r>
                <a:endParaRPr kumimoji="0" lang="en-US" sz="825" b="1" i="1" u="none" strike="noStrike" kern="1200" cap="none" spc="0" normalizeH="0" baseline="0" noProof="0" dirty="0">
                  <a:ln>
                    <a:noFill/>
                  </a:ln>
                  <a:solidFill>
                    <a:srgbClr val="008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35" name="Rectangle 34"/>
            <p:cNvSpPr/>
            <p:nvPr/>
          </p:nvSpPr>
          <p:spPr>
            <a:xfrm>
              <a:off x="325315" y="2371507"/>
              <a:ext cx="1274885" cy="4490803"/>
            </a:xfrm>
            <a:prstGeom prst="rect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7467740" y="2098945"/>
            <a:ext cx="1916969" cy="4490803"/>
            <a:chOff x="7406196" y="2098945"/>
            <a:chExt cx="1916969" cy="4490803"/>
          </a:xfrm>
        </p:grpSpPr>
        <p:sp>
          <p:nvSpPr>
            <p:cNvPr id="89" name="TextBox 88"/>
            <p:cNvSpPr txBox="1"/>
            <p:nvPr/>
          </p:nvSpPr>
          <p:spPr>
            <a:xfrm>
              <a:off x="7406196" y="2641619"/>
              <a:ext cx="1868604" cy="5239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25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Training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25" b="1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8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13 Logistics Courses &amp;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25" b="1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8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4</a:t>
              </a:r>
              <a:r>
                <a:rPr lang="en-US" sz="825" i="1" noProof="0" dirty="0" smtClean="0">
                  <a:solidFill>
                    <a:srgbClr val="008000"/>
                  </a:solidFill>
                </a:rPr>
                <a:t>0</a:t>
              </a:r>
              <a:r>
                <a:rPr kumimoji="0" lang="en-US" sz="825" b="1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8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 Logistics CL Modules</a:t>
              </a:r>
              <a:endParaRPr kumimoji="0" lang="en-US" sz="825" b="1" i="1" u="none" strike="noStrike" kern="1200" cap="none" spc="0" normalizeH="0" baseline="0" noProof="0" dirty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25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  <p:grpSp>
          <p:nvGrpSpPr>
            <p:cNvPr id="29" name="Group 28"/>
            <p:cNvGrpSpPr/>
            <p:nvPr/>
          </p:nvGrpSpPr>
          <p:grpSpPr>
            <a:xfrm>
              <a:off x="7412447" y="3272673"/>
              <a:ext cx="1868604" cy="1020982"/>
              <a:chOff x="7394863" y="3193545"/>
              <a:chExt cx="1868604" cy="1020982"/>
            </a:xfrm>
          </p:grpSpPr>
          <p:pic>
            <p:nvPicPr>
              <p:cNvPr id="68" name="Picture 67">
                <a:hlinkClick r:id="rId19"/>
              </p:cNvPr>
              <p:cNvPicPr>
                <a:picLocks noChangeAspect="1"/>
              </p:cNvPicPr>
              <p:nvPr/>
            </p:nvPicPr>
            <p:blipFill rotWithShape="1">
              <a:blip r:embed="rId2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8106962" y="3193545"/>
                <a:ext cx="483321" cy="445749"/>
              </a:xfrm>
              <a:prstGeom prst="rect">
                <a:avLst/>
              </a:prstGeom>
              <a:ln w="19050">
                <a:solidFill>
                  <a:srgbClr val="003366"/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sp>
            <p:nvSpPr>
              <p:cNvPr id="92" name="TextBox 91"/>
              <p:cNvSpPr txBox="1"/>
              <p:nvPr/>
            </p:nvSpPr>
            <p:spPr>
              <a:xfrm>
                <a:off x="7394863" y="3690537"/>
                <a:ext cx="1868604" cy="5239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ACQuipedia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8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147 Logistics &amp; Product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8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Support Articles</a:t>
                </a:r>
                <a:endParaRPr kumimoji="0" lang="en-US" sz="825" b="1" i="1" u="none" strike="noStrike" kern="1200" cap="none" spc="0" normalizeH="0" baseline="0" noProof="0" dirty="0">
                  <a:ln>
                    <a:noFill/>
                  </a:ln>
                  <a:solidFill>
                    <a:srgbClr val="008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32" name="Group 31"/>
            <p:cNvGrpSpPr/>
            <p:nvPr/>
          </p:nvGrpSpPr>
          <p:grpSpPr>
            <a:xfrm>
              <a:off x="7431901" y="4457467"/>
              <a:ext cx="1868604" cy="1075822"/>
              <a:chOff x="7326397" y="4378339"/>
              <a:chExt cx="1868604" cy="1075822"/>
            </a:xfrm>
          </p:grpSpPr>
          <p:pic>
            <p:nvPicPr>
              <p:cNvPr id="84" name="Picture 5">
                <a:hlinkClick r:id="rId21"/>
              </p:cNvPr>
              <p:cNvPicPr>
                <a:picLocks noChangeAspect="1" noChangeArrowheads="1"/>
              </p:cNvPicPr>
              <p:nvPr/>
            </p:nvPicPr>
            <p:blipFill>
              <a:blip r:embed="rId2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19039" y="4378339"/>
                <a:ext cx="483321" cy="482564"/>
              </a:xfrm>
              <a:prstGeom prst="rect">
                <a:avLst/>
              </a:prstGeom>
              <a:ln w="19050">
                <a:solidFill>
                  <a:srgbClr val="003366"/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sp>
            <p:nvSpPr>
              <p:cNvPr id="93" name="TextBox 92"/>
              <p:cNvSpPr txBox="1"/>
              <p:nvPr/>
            </p:nvSpPr>
            <p:spPr>
              <a:xfrm>
                <a:off x="7326397" y="4930171"/>
                <a:ext cx="1868604" cy="5239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IPS Roadmap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8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Product Support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8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Across Life Cycle</a:t>
                </a:r>
                <a:endParaRPr kumimoji="0" lang="en-US" sz="825" b="1" i="1" u="none" strike="noStrike" kern="1200" cap="none" spc="0" normalizeH="0" baseline="0" noProof="0" dirty="0">
                  <a:ln>
                    <a:noFill/>
                  </a:ln>
                  <a:solidFill>
                    <a:srgbClr val="008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25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94" name="TextBox 93"/>
            <p:cNvSpPr txBox="1"/>
            <p:nvPr/>
          </p:nvSpPr>
          <p:spPr>
            <a:xfrm>
              <a:off x="7454561" y="6154354"/>
              <a:ext cx="1868604" cy="4160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25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Logistics Blog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25" b="1" i="1" u="none" strike="noStrike" kern="1200" cap="none" spc="0" normalizeH="0" baseline="0" noProof="0" dirty="0">
                  <a:ln>
                    <a:noFill/>
                  </a:ln>
                  <a:solidFill>
                    <a:srgbClr val="008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Latest LCL &amp; </a:t>
              </a:r>
              <a:r>
                <a:rPr kumimoji="0" lang="en-US" sz="825" b="1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8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Product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25" b="1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8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Support Information</a:t>
              </a:r>
            </a:p>
          </p:txBody>
        </p:sp>
        <p:sp>
          <p:nvSpPr>
            <p:cNvPr id="95" name="Rectangle 94"/>
            <p:cNvSpPr/>
            <p:nvPr/>
          </p:nvSpPr>
          <p:spPr>
            <a:xfrm>
              <a:off x="7708353" y="2098945"/>
              <a:ext cx="1274885" cy="4490803"/>
            </a:xfrm>
            <a:prstGeom prst="rect">
              <a:avLst/>
            </a:prstGeom>
            <a:noFill/>
            <a:ln w="19050">
              <a:solidFill>
                <a:srgbClr val="0033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6" name="Freeform 95"/>
          <p:cNvSpPr/>
          <p:nvPr/>
        </p:nvSpPr>
        <p:spPr>
          <a:xfrm>
            <a:off x="1397430" y="2063511"/>
            <a:ext cx="520088" cy="3657600"/>
          </a:xfrm>
          <a:custGeom>
            <a:avLst/>
            <a:gdLst>
              <a:gd name="connsiteX0" fmla="*/ 14990 w 659567"/>
              <a:gd name="connsiteY0" fmla="*/ 374754 h 1424066"/>
              <a:gd name="connsiteX1" fmla="*/ 659567 w 659567"/>
              <a:gd name="connsiteY1" fmla="*/ 0 h 1424066"/>
              <a:gd name="connsiteX2" fmla="*/ 659567 w 659567"/>
              <a:gd name="connsiteY2" fmla="*/ 1424066 h 1424066"/>
              <a:gd name="connsiteX3" fmla="*/ 0 w 659567"/>
              <a:gd name="connsiteY3" fmla="*/ 1004341 h 1424066"/>
              <a:gd name="connsiteX0" fmla="*/ 14990 w 659567"/>
              <a:gd name="connsiteY0" fmla="*/ 374754 h 1424066"/>
              <a:gd name="connsiteX1" fmla="*/ 659567 w 659567"/>
              <a:gd name="connsiteY1" fmla="*/ 0 h 1424066"/>
              <a:gd name="connsiteX2" fmla="*/ 659567 w 659567"/>
              <a:gd name="connsiteY2" fmla="*/ 1424066 h 1424066"/>
              <a:gd name="connsiteX3" fmla="*/ 0 w 659567"/>
              <a:gd name="connsiteY3" fmla="*/ 1004341 h 1424066"/>
              <a:gd name="connsiteX4" fmla="*/ 14990 w 659567"/>
              <a:gd name="connsiteY4" fmla="*/ 374754 h 1424066"/>
              <a:gd name="connsiteX0" fmla="*/ 0 w 679554"/>
              <a:gd name="connsiteY0" fmla="*/ 440961 h 1424066"/>
              <a:gd name="connsiteX1" fmla="*/ 679554 w 679554"/>
              <a:gd name="connsiteY1" fmla="*/ 0 h 1424066"/>
              <a:gd name="connsiteX2" fmla="*/ 679554 w 679554"/>
              <a:gd name="connsiteY2" fmla="*/ 1424066 h 1424066"/>
              <a:gd name="connsiteX3" fmla="*/ 19987 w 679554"/>
              <a:gd name="connsiteY3" fmla="*/ 1004341 h 1424066"/>
              <a:gd name="connsiteX4" fmla="*/ 0 w 679554"/>
              <a:gd name="connsiteY4" fmla="*/ 440961 h 1424066"/>
              <a:gd name="connsiteX0" fmla="*/ 0 w 679554"/>
              <a:gd name="connsiteY0" fmla="*/ 440961 h 1424066"/>
              <a:gd name="connsiteX1" fmla="*/ 679554 w 679554"/>
              <a:gd name="connsiteY1" fmla="*/ 0 h 1424066"/>
              <a:gd name="connsiteX2" fmla="*/ 679554 w 679554"/>
              <a:gd name="connsiteY2" fmla="*/ 1424066 h 1424066"/>
              <a:gd name="connsiteX3" fmla="*/ 0 w 679554"/>
              <a:gd name="connsiteY3" fmla="*/ 1050561 h 1424066"/>
              <a:gd name="connsiteX4" fmla="*/ 0 w 679554"/>
              <a:gd name="connsiteY4" fmla="*/ 440961 h 1424066"/>
              <a:gd name="connsiteX0" fmla="*/ 0 w 685800"/>
              <a:gd name="connsiteY0" fmla="*/ 457200 h 1440305"/>
              <a:gd name="connsiteX1" fmla="*/ 685800 w 685800"/>
              <a:gd name="connsiteY1" fmla="*/ 0 h 1440305"/>
              <a:gd name="connsiteX2" fmla="*/ 679554 w 685800"/>
              <a:gd name="connsiteY2" fmla="*/ 1440305 h 1440305"/>
              <a:gd name="connsiteX3" fmla="*/ 0 w 685800"/>
              <a:gd name="connsiteY3" fmla="*/ 1066800 h 1440305"/>
              <a:gd name="connsiteX4" fmla="*/ 0 w 685800"/>
              <a:gd name="connsiteY4" fmla="*/ 457200 h 1440305"/>
              <a:gd name="connsiteX0" fmla="*/ 0 w 685800"/>
              <a:gd name="connsiteY0" fmla="*/ 457200 h 1447801"/>
              <a:gd name="connsiteX1" fmla="*/ 685800 w 685800"/>
              <a:gd name="connsiteY1" fmla="*/ 0 h 1447801"/>
              <a:gd name="connsiteX2" fmla="*/ 685800 w 685800"/>
              <a:gd name="connsiteY2" fmla="*/ 1447801 h 1447801"/>
              <a:gd name="connsiteX3" fmla="*/ 0 w 685800"/>
              <a:gd name="connsiteY3" fmla="*/ 1066800 h 1447801"/>
              <a:gd name="connsiteX4" fmla="*/ 0 w 685800"/>
              <a:gd name="connsiteY4" fmla="*/ 457200 h 1447801"/>
              <a:gd name="connsiteX0" fmla="*/ 0 w 685800"/>
              <a:gd name="connsiteY0" fmla="*/ 603250 h 1447801"/>
              <a:gd name="connsiteX1" fmla="*/ 685800 w 685800"/>
              <a:gd name="connsiteY1" fmla="*/ 0 h 1447801"/>
              <a:gd name="connsiteX2" fmla="*/ 685800 w 685800"/>
              <a:gd name="connsiteY2" fmla="*/ 1447801 h 1447801"/>
              <a:gd name="connsiteX3" fmla="*/ 0 w 685800"/>
              <a:gd name="connsiteY3" fmla="*/ 1066800 h 1447801"/>
              <a:gd name="connsiteX4" fmla="*/ 0 w 685800"/>
              <a:gd name="connsiteY4" fmla="*/ 603250 h 1447801"/>
              <a:gd name="connsiteX0" fmla="*/ 0 w 685800"/>
              <a:gd name="connsiteY0" fmla="*/ 603250 h 1447801"/>
              <a:gd name="connsiteX1" fmla="*/ 685800 w 685800"/>
              <a:gd name="connsiteY1" fmla="*/ 0 h 1447801"/>
              <a:gd name="connsiteX2" fmla="*/ 685800 w 685800"/>
              <a:gd name="connsiteY2" fmla="*/ 1447801 h 1447801"/>
              <a:gd name="connsiteX3" fmla="*/ 0 w 685800"/>
              <a:gd name="connsiteY3" fmla="*/ 844551 h 1447801"/>
              <a:gd name="connsiteX4" fmla="*/ 0 w 685800"/>
              <a:gd name="connsiteY4" fmla="*/ 603250 h 1447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800" h="1447801">
                <a:moveTo>
                  <a:pt x="0" y="603250"/>
                </a:moveTo>
                <a:lnTo>
                  <a:pt x="685800" y="0"/>
                </a:lnTo>
                <a:lnTo>
                  <a:pt x="685800" y="1447801"/>
                </a:lnTo>
                <a:lnTo>
                  <a:pt x="0" y="844551"/>
                </a:lnTo>
                <a:lnTo>
                  <a:pt x="0" y="603250"/>
                </a:lnTo>
                <a:close/>
              </a:path>
            </a:pathLst>
          </a:custGeom>
          <a:gradFill flip="none" rotWithShape="1">
            <a:gsLst>
              <a:gs pos="0">
                <a:srgbClr val="FFFFFF">
                  <a:lumMod val="95000"/>
                  <a:alpha val="34000"/>
                </a:srgbClr>
              </a:gs>
              <a:gs pos="64999">
                <a:srgbClr val="F0EBD5"/>
              </a:gs>
              <a:gs pos="100000">
                <a:srgbClr val="D1C39F"/>
              </a:gs>
            </a:gsLst>
            <a:lin ang="10800000" scaled="0"/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Freeform 108"/>
          <p:cNvSpPr/>
          <p:nvPr/>
        </p:nvSpPr>
        <p:spPr>
          <a:xfrm rot="10800000">
            <a:off x="7228760" y="2063511"/>
            <a:ext cx="520088" cy="3657600"/>
          </a:xfrm>
          <a:custGeom>
            <a:avLst/>
            <a:gdLst>
              <a:gd name="connsiteX0" fmla="*/ 14990 w 659567"/>
              <a:gd name="connsiteY0" fmla="*/ 374754 h 1424066"/>
              <a:gd name="connsiteX1" fmla="*/ 659567 w 659567"/>
              <a:gd name="connsiteY1" fmla="*/ 0 h 1424066"/>
              <a:gd name="connsiteX2" fmla="*/ 659567 w 659567"/>
              <a:gd name="connsiteY2" fmla="*/ 1424066 h 1424066"/>
              <a:gd name="connsiteX3" fmla="*/ 0 w 659567"/>
              <a:gd name="connsiteY3" fmla="*/ 1004341 h 1424066"/>
              <a:gd name="connsiteX0" fmla="*/ 14990 w 659567"/>
              <a:gd name="connsiteY0" fmla="*/ 374754 h 1424066"/>
              <a:gd name="connsiteX1" fmla="*/ 659567 w 659567"/>
              <a:gd name="connsiteY1" fmla="*/ 0 h 1424066"/>
              <a:gd name="connsiteX2" fmla="*/ 659567 w 659567"/>
              <a:gd name="connsiteY2" fmla="*/ 1424066 h 1424066"/>
              <a:gd name="connsiteX3" fmla="*/ 0 w 659567"/>
              <a:gd name="connsiteY3" fmla="*/ 1004341 h 1424066"/>
              <a:gd name="connsiteX4" fmla="*/ 14990 w 659567"/>
              <a:gd name="connsiteY4" fmla="*/ 374754 h 1424066"/>
              <a:gd name="connsiteX0" fmla="*/ 0 w 679554"/>
              <a:gd name="connsiteY0" fmla="*/ 440961 h 1424066"/>
              <a:gd name="connsiteX1" fmla="*/ 679554 w 679554"/>
              <a:gd name="connsiteY1" fmla="*/ 0 h 1424066"/>
              <a:gd name="connsiteX2" fmla="*/ 679554 w 679554"/>
              <a:gd name="connsiteY2" fmla="*/ 1424066 h 1424066"/>
              <a:gd name="connsiteX3" fmla="*/ 19987 w 679554"/>
              <a:gd name="connsiteY3" fmla="*/ 1004341 h 1424066"/>
              <a:gd name="connsiteX4" fmla="*/ 0 w 679554"/>
              <a:gd name="connsiteY4" fmla="*/ 440961 h 1424066"/>
              <a:gd name="connsiteX0" fmla="*/ 0 w 679554"/>
              <a:gd name="connsiteY0" fmla="*/ 440961 h 1424066"/>
              <a:gd name="connsiteX1" fmla="*/ 679554 w 679554"/>
              <a:gd name="connsiteY1" fmla="*/ 0 h 1424066"/>
              <a:gd name="connsiteX2" fmla="*/ 679554 w 679554"/>
              <a:gd name="connsiteY2" fmla="*/ 1424066 h 1424066"/>
              <a:gd name="connsiteX3" fmla="*/ 0 w 679554"/>
              <a:gd name="connsiteY3" fmla="*/ 1050561 h 1424066"/>
              <a:gd name="connsiteX4" fmla="*/ 0 w 679554"/>
              <a:gd name="connsiteY4" fmla="*/ 440961 h 1424066"/>
              <a:gd name="connsiteX0" fmla="*/ 0 w 685800"/>
              <a:gd name="connsiteY0" fmla="*/ 457200 h 1440305"/>
              <a:gd name="connsiteX1" fmla="*/ 685800 w 685800"/>
              <a:gd name="connsiteY1" fmla="*/ 0 h 1440305"/>
              <a:gd name="connsiteX2" fmla="*/ 679554 w 685800"/>
              <a:gd name="connsiteY2" fmla="*/ 1440305 h 1440305"/>
              <a:gd name="connsiteX3" fmla="*/ 0 w 685800"/>
              <a:gd name="connsiteY3" fmla="*/ 1066800 h 1440305"/>
              <a:gd name="connsiteX4" fmla="*/ 0 w 685800"/>
              <a:gd name="connsiteY4" fmla="*/ 457200 h 1440305"/>
              <a:gd name="connsiteX0" fmla="*/ 0 w 685800"/>
              <a:gd name="connsiteY0" fmla="*/ 457200 h 1447801"/>
              <a:gd name="connsiteX1" fmla="*/ 685800 w 685800"/>
              <a:gd name="connsiteY1" fmla="*/ 0 h 1447801"/>
              <a:gd name="connsiteX2" fmla="*/ 685800 w 685800"/>
              <a:gd name="connsiteY2" fmla="*/ 1447801 h 1447801"/>
              <a:gd name="connsiteX3" fmla="*/ 0 w 685800"/>
              <a:gd name="connsiteY3" fmla="*/ 1066800 h 1447801"/>
              <a:gd name="connsiteX4" fmla="*/ 0 w 685800"/>
              <a:gd name="connsiteY4" fmla="*/ 457200 h 1447801"/>
              <a:gd name="connsiteX0" fmla="*/ 0 w 685800"/>
              <a:gd name="connsiteY0" fmla="*/ 603250 h 1447801"/>
              <a:gd name="connsiteX1" fmla="*/ 685800 w 685800"/>
              <a:gd name="connsiteY1" fmla="*/ 0 h 1447801"/>
              <a:gd name="connsiteX2" fmla="*/ 685800 w 685800"/>
              <a:gd name="connsiteY2" fmla="*/ 1447801 h 1447801"/>
              <a:gd name="connsiteX3" fmla="*/ 0 w 685800"/>
              <a:gd name="connsiteY3" fmla="*/ 1066800 h 1447801"/>
              <a:gd name="connsiteX4" fmla="*/ 0 w 685800"/>
              <a:gd name="connsiteY4" fmla="*/ 603250 h 1447801"/>
              <a:gd name="connsiteX0" fmla="*/ 0 w 685800"/>
              <a:gd name="connsiteY0" fmla="*/ 603250 h 1447801"/>
              <a:gd name="connsiteX1" fmla="*/ 685800 w 685800"/>
              <a:gd name="connsiteY1" fmla="*/ 0 h 1447801"/>
              <a:gd name="connsiteX2" fmla="*/ 685800 w 685800"/>
              <a:gd name="connsiteY2" fmla="*/ 1447801 h 1447801"/>
              <a:gd name="connsiteX3" fmla="*/ 0 w 685800"/>
              <a:gd name="connsiteY3" fmla="*/ 844551 h 1447801"/>
              <a:gd name="connsiteX4" fmla="*/ 0 w 685800"/>
              <a:gd name="connsiteY4" fmla="*/ 603250 h 1447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800" h="1447801">
                <a:moveTo>
                  <a:pt x="0" y="603250"/>
                </a:moveTo>
                <a:lnTo>
                  <a:pt x="685800" y="0"/>
                </a:lnTo>
                <a:lnTo>
                  <a:pt x="685800" y="1447801"/>
                </a:lnTo>
                <a:lnTo>
                  <a:pt x="0" y="844551"/>
                </a:lnTo>
                <a:lnTo>
                  <a:pt x="0" y="603250"/>
                </a:lnTo>
                <a:close/>
              </a:path>
            </a:pathLst>
          </a:custGeom>
          <a:gradFill flip="none" rotWithShape="1">
            <a:gsLst>
              <a:gs pos="0">
                <a:srgbClr val="FFFFFF">
                  <a:lumMod val="95000"/>
                  <a:alpha val="34000"/>
                </a:srgbClr>
              </a:gs>
              <a:gs pos="64999">
                <a:srgbClr val="F0EBD5"/>
              </a:gs>
              <a:gs pos="100000">
                <a:srgbClr val="D1C39F"/>
              </a:gs>
            </a:gsLst>
            <a:lin ang="10800000" scaled="0"/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4071073" y="1062095"/>
            <a:ext cx="2238709" cy="1023809"/>
            <a:chOff x="3337467" y="3475339"/>
            <a:chExt cx="2238709" cy="1023809"/>
          </a:xfrm>
        </p:grpSpPr>
        <p:pic>
          <p:nvPicPr>
            <p:cNvPr id="18" name="Picture 17">
              <a:hlinkClick r:id="rId23"/>
            </p:cNvPr>
            <p:cNvPicPr>
              <a:picLocks noChangeAspect="1"/>
            </p:cNvPicPr>
            <p:nvPr/>
          </p:nvPicPr>
          <p:blipFill rotWithShape="1"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27146" y="3475339"/>
              <a:ext cx="461891" cy="595075"/>
            </a:xfrm>
            <a:prstGeom prst="rect">
              <a:avLst/>
            </a:prstGeom>
            <a:ln w="19050">
              <a:solidFill>
                <a:srgbClr val="003366"/>
              </a:solidFill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49" name="TextBox 48"/>
            <p:cNvSpPr txBox="1"/>
            <p:nvPr/>
          </p:nvSpPr>
          <p:spPr>
            <a:xfrm>
              <a:off x="3337467" y="4083072"/>
              <a:ext cx="2238709" cy="416076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25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DAG Chapter 4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25" b="1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Life Cycle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25" b="1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rPr>
                <a:t>Sustainment</a:t>
              </a:r>
              <a:endParaRPr kumimoji="0" lang="en-US" sz="825" b="1" i="1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endParaRPr>
            </a:p>
          </p:txBody>
        </p:sp>
      </p:grpSp>
      <p:pic>
        <p:nvPicPr>
          <p:cNvPr id="97" name="Picture 96"/>
          <p:cNvPicPr>
            <a:picLocks noChangeAspect="1"/>
          </p:cNvPicPr>
          <p:nvPr/>
        </p:nvPicPr>
        <p:blipFill rotWithShape="1"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7959" y="3209263"/>
            <a:ext cx="662345" cy="455076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98" name="Picture 97"/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3629" y="5579436"/>
            <a:ext cx="614013" cy="542145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3629" y="2168045"/>
            <a:ext cx="567498" cy="501720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818" y="4420442"/>
            <a:ext cx="635486" cy="542223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4818" y="5599321"/>
            <a:ext cx="659983" cy="522260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sp>
        <p:nvSpPr>
          <p:cNvPr id="20" name="Dodecagon 19"/>
          <p:cNvSpPr/>
          <p:nvPr/>
        </p:nvSpPr>
        <p:spPr>
          <a:xfrm>
            <a:off x="2717471" y="2057862"/>
            <a:ext cx="3677722" cy="3644877"/>
          </a:xfrm>
          <a:prstGeom prst="dodecagon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5806940" y="5711056"/>
            <a:ext cx="944002" cy="523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CBM+ Guidebook</a:t>
            </a:r>
          </a:p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Maintenance </a:t>
            </a:r>
          </a:p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Enablers</a:t>
            </a:r>
            <a:endParaRPr kumimoji="0" lang="en-US" sz="825" b="1" i="1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endParaRPr kumimoji="0" lang="en-US" sz="825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2227898" y="5777780"/>
            <a:ext cx="1154233" cy="523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IPS Element Guidebook</a:t>
            </a:r>
          </a:p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12 Product </a:t>
            </a:r>
          </a:p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Support Elements </a:t>
            </a:r>
            <a:endParaRPr kumimoji="0" lang="en-US" sz="825" b="1" i="1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endParaRPr kumimoji="0" lang="en-US" sz="825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1787254" y="4687445"/>
            <a:ext cx="1026215" cy="523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DMSMS Guidebook</a:t>
            </a:r>
          </a:p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SD-22 DMSMS</a:t>
            </a:r>
          </a:p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Mgmt Program</a:t>
            </a:r>
            <a:endParaRPr kumimoji="0" lang="en-US" sz="825" b="1" i="1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endParaRPr kumimoji="0" lang="en-US" sz="825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cxnSp>
        <p:nvCxnSpPr>
          <p:cNvPr id="103" name="Straight Connector 102"/>
          <p:cNvCxnSpPr>
            <a:stCxn id="20" idx="5"/>
          </p:cNvCxnSpPr>
          <p:nvPr/>
        </p:nvCxnSpPr>
        <p:spPr>
          <a:xfrm flipV="1">
            <a:off x="4063585" y="2046989"/>
            <a:ext cx="989921" cy="3655750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4" name="Straight Connector 103"/>
          <p:cNvCxnSpPr>
            <a:stCxn id="20" idx="4"/>
            <a:endCxn id="20" idx="11"/>
          </p:cNvCxnSpPr>
          <p:nvPr/>
        </p:nvCxnSpPr>
        <p:spPr>
          <a:xfrm flipV="1">
            <a:off x="5049079" y="2057862"/>
            <a:ext cx="0" cy="3644877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6" name="Straight Connector 105"/>
          <p:cNvCxnSpPr>
            <a:stCxn id="20" idx="3"/>
            <a:endCxn id="20" idx="11"/>
          </p:cNvCxnSpPr>
          <p:nvPr/>
        </p:nvCxnSpPr>
        <p:spPr>
          <a:xfrm flipH="1" flipV="1">
            <a:off x="5049079" y="2057862"/>
            <a:ext cx="853367" cy="3156531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0" name="Straight Connector 109"/>
          <p:cNvCxnSpPr>
            <a:stCxn id="20" idx="2"/>
          </p:cNvCxnSpPr>
          <p:nvPr/>
        </p:nvCxnSpPr>
        <p:spPr>
          <a:xfrm flipH="1" flipV="1">
            <a:off x="5047800" y="2073529"/>
            <a:ext cx="1347393" cy="2295118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2" name="Straight Connector 111"/>
          <p:cNvCxnSpPr>
            <a:stCxn id="20" idx="1"/>
          </p:cNvCxnSpPr>
          <p:nvPr/>
        </p:nvCxnSpPr>
        <p:spPr>
          <a:xfrm flipH="1" flipV="1">
            <a:off x="5061451" y="2076571"/>
            <a:ext cx="1333742" cy="1315383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4" name="Straight Connector 113"/>
          <p:cNvCxnSpPr>
            <a:stCxn id="20" idx="7"/>
            <a:endCxn id="20" idx="11"/>
          </p:cNvCxnSpPr>
          <p:nvPr/>
        </p:nvCxnSpPr>
        <p:spPr>
          <a:xfrm flipV="1">
            <a:off x="2717471" y="2057862"/>
            <a:ext cx="2331608" cy="2310785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6" name="Straight Connector 115"/>
          <p:cNvCxnSpPr>
            <a:stCxn id="20" idx="8"/>
            <a:endCxn id="20" idx="11"/>
          </p:cNvCxnSpPr>
          <p:nvPr/>
        </p:nvCxnSpPr>
        <p:spPr>
          <a:xfrm flipV="1">
            <a:off x="2717471" y="2057862"/>
            <a:ext cx="2331608" cy="1334092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8" name="Straight Connector 117"/>
          <p:cNvCxnSpPr>
            <a:stCxn id="20" idx="9"/>
          </p:cNvCxnSpPr>
          <p:nvPr/>
        </p:nvCxnSpPr>
        <p:spPr>
          <a:xfrm flipV="1">
            <a:off x="3210218" y="2063191"/>
            <a:ext cx="1817812" cy="483017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2" name="Straight Connector 121"/>
          <p:cNvCxnSpPr>
            <a:stCxn id="20" idx="8"/>
          </p:cNvCxnSpPr>
          <p:nvPr/>
        </p:nvCxnSpPr>
        <p:spPr>
          <a:xfrm flipV="1">
            <a:off x="2717471" y="2078001"/>
            <a:ext cx="1283355" cy="1313953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4" name="Straight Connector 123"/>
          <p:cNvCxnSpPr>
            <a:stCxn id="20" idx="7"/>
            <a:endCxn id="20" idx="10"/>
          </p:cNvCxnSpPr>
          <p:nvPr/>
        </p:nvCxnSpPr>
        <p:spPr>
          <a:xfrm flipV="1">
            <a:off x="2717471" y="2057862"/>
            <a:ext cx="1346114" cy="2310785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7" name="Straight Connector 126"/>
          <p:cNvCxnSpPr>
            <a:stCxn id="20" idx="6"/>
            <a:endCxn id="20" idx="10"/>
          </p:cNvCxnSpPr>
          <p:nvPr/>
        </p:nvCxnSpPr>
        <p:spPr>
          <a:xfrm flipV="1">
            <a:off x="3210218" y="2057862"/>
            <a:ext cx="853367" cy="3156531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0" name="Straight Connector 129"/>
          <p:cNvCxnSpPr>
            <a:stCxn id="20" idx="5"/>
          </p:cNvCxnSpPr>
          <p:nvPr/>
        </p:nvCxnSpPr>
        <p:spPr>
          <a:xfrm flipH="1" flipV="1">
            <a:off x="4061463" y="2098945"/>
            <a:ext cx="2122" cy="3603794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4" name="Straight Connector 133"/>
          <p:cNvCxnSpPr>
            <a:stCxn id="20" idx="4"/>
          </p:cNvCxnSpPr>
          <p:nvPr/>
        </p:nvCxnSpPr>
        <p:spPr>
          <a:xfrm flipH="1" flipV="1">
            <a:off x="4075057" y="2073530"/>
            <a:ext cx="974022" cy="3629209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7" name="Straight Connector 136"/>
          <p:cNvCxnSpPr>
            <a:stCxn id="20" idx="3"/>
          </p:cNvCxnSpPr>
          <p:nvPr/>
        </p:nvCxnSpPr>
        <p:spPr>
          <a:xfrm flipH="1" flipV="1">
            <a:off x="4065105" y="2073531"/>
            <a:ext cx="1837341" cy="3140862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0" name="Straight Connector 139"/>
          <p:cNvCxnSpPr>
            <a:stCxn id="20" idx="2"/>
          </p:cNvCxnSpPr>
          <p:nvPr/>
        </p:nvCxnSpPr>
        <p:spPr>
          <a:xfrm flipH="1" flipV="1">
            <a:off x="4056966" y="2074509"/>
            <a:ext cx="2338227" cy="2294138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3" name="Straight Connector 142"/>
          <p:cNvCxnSpPr>
            <a:stCxn id="20" idx="1"/>
          </p:cNvCxnSpPr>
          <p:nvPr/>
        </p:nvCxnSpPr>
        <p:spPr>
          <a:xfrm flipH="1" flipV="1">
            <a:off x="4062983" y="2073532"/>
            <a:ext cx="2332210" cy="1318422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6" name="Straight Connector 145"/>
          <p:cNvCxnSpPr>
            <a:stCxn id="20" idx="0"/>
          </p:cNvCxnSpPr>
          <p:nvPr/>
        </p:nvCxnSpPr>
        <p:spPr>
          <a:xfrm flipH="1" flipV="1">
            <a:off x="4069291" y="2065698"/>
            <a:ext cx="1833155" cy="480510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9" name="Straight Connector 148"/>
          <p:cNvCxnSpPr>
            <a:stCxn id="20" idx="9"/>
            <a:endCxn id="20" idx="0"/>
          </p:cNvCxnSpPr>
          <p:nvPr/>
        </p:nvCxnSpPr>
        <p:spPr>
          <a:xfrm>
            <a:off x="3210218" y="2546208"/>
            <a:ext cx="2692228" cy="0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2" name="Straight Connector 151"/>
          <p:cNvCxnSpPr>
            <a:stCxn id="20" idx="9"/>
            <a:endCxn id="20" idx="1"/>
          </p:cNvCxnSpPr>
          <p:nvPr/>
        </p:nvCxnSpPr>
        <p:spPr>
          <a:xfrm>
            <a:off x="3210218" y="2546208"/>
            <a:ext cx="3184975" cy="845746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5" name="Straight Connector 154"/>
          <p:cNvCxnSpPr>
            <a:stCxn id="20" idx="9"/>
            <a:endCxn id="20" idx="2"/>
          </p:cNvCxnSpPr>
          <p:nvPr/>
        </p:nvCxnSpPr>
        <p:spPr>
          <a:xfrm>
            <a:off x="3210218" y="2546208"/>
            <a:ext cx="3184975" cy="1822439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Straight Connector 157"/>
          <p:cNvCxnSpPr/>
          <p:nvPr/>
        </p:nvCxnSpPr>
        <p:spPr>
          <a:xfrm>
            <a:off x="3214253" y="2546208"/>
            <a:ext cx="2692228" cy="2668185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1" name="Straight Connector 160"/>
          <p:cNvCxnSpPr>
            <a:stCxn id="20" idx="9"/>
            <a:endCxn id="20" idx="4"/>
          </p:cNvCxnSpPr>
          <p:nvPr/>
        </p:nvCxnSpPr>
        <p:spPr>
          <a:xfrm>
            <a:off x="3210218" y="2546208"/>
            <a:ext cx="1838861" cy="3156531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2" name="Straight Connector 191"/>
          <p:cNvCxnSpPr>
            <a:endCxn id="20" idx="5"/>
          </p:cNvCxnSpPr>
          <p:nvPr/>
        </p:nvCxnSpPr>
        <p:spPr>
          <a:xfrm>
            <a:off x="3210107" y="2564327"/>
            <a:ext cx="853478" cy="3138412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4" name="Straight Connector 193"/>
          <p:cNvCxnSpPr>
            <a:stCxn id="20" idx="9"/>
            <a:endCxn id="20" idx="6"/>
          </p:cNvCxnSpPr>
          <p:nvPr/>
        </p:nvCxnSpPr>
        <p:spPr>
          <a:xfrm>
            <a:off x="3210218" y="2546208"/>
            <a:ext cx="0" cy="2668185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6" name="Straight Connector 195"/>
          <p:cNvCxnSpPr>
            <a:endCxn id="20" idx="7"/>
          </p:cNvCxnSpPr>
          <p:nvPr/>
        </p:nvCxnSpPr>
        <p:spPr>
          <a:xfrm flipH="1">
            <a:off x="2717471" y="2528589"/>
            <a:ext cx="493906" cy="1840058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1" name="Straight Connector 200"/>
          <p:cNvCxnSpPr>
            <a:stCxn id="20" idx="0"/>
            <a:endCxn id="20" idx="8"/>
          </p:cNvCxnSpPr>
          <p:nvPr/>
        </p:nvCxnSpPr>
        <p:spPr>
          <a:xfrm flipH="1">
            <a:off x="2717471" y="2546208"/>
            <a:ext cx="3184975" cy="845746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4" name="Straight Connector 203"/>
          <p:cNvCxnSpPr>
            <a:stCxn id="20" idx="0"/>
            <a:endCxn id="20" idx="7"/>
          </p:cNvCxnSpPr>
          <p:nvPr/>
        </p:nvCxnSpPr>
        <p:spPr>
          <a:xfrm flipH="1">
            <a:off x="2717471" y="2546208"/>
            <a:ext cx="3184975" cy="1822439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7" name="Straight Connector 206"/>
          <p:cNvCxnSpPr>
            <a:stCxn id="20" idx="0"/>
            <a:endCxn id="20" idx="6"/>
          </p:cNvCxnSpPr>
          <p:nvPr/>
        </p:nvCxnSpPr>
        <p:spPr>
          <a:xfrm flipH="1">
            <a:off x="3210218" y="2546208"/>
            <a:ext cx="2692228" cy="2668185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0" name="Straight Connector 209"/>
          <p:cNvCxnSpPr>
            <a:stCxn id="20" idx="0"/>
            <a:endCxn id="20" idx="5"/>
          </p:cNvCxnSpPr>
          <p:nvPr/>
        </p:nvCxnSpPr>
        <p:spPr>
          <a:xfrm flipH="1">
            <a:off x="4063585" y="2546208"/>
            <a:ext cx="1838861" cy="3156531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4" name="Straight Connector 213"/>
          <p:cNvCxnSpPr>
            <a:stCxn id="20" idx="0"/>
            <a:endCxn id="20" idx="4"/>
          </p:cNvCxnSpPr>
          <p:nvPr/>
        </p:nvCxnSpPr>
        <p:spPr>
          <a:xfrm flipH="1">
            <a:off x="5049079" y="2546208"/>
            <a:ext cx="853367" cy="3156531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7" name="Straight Connector 216"/>
          <p:cNvCxnSpPr>
            <a:stCxn id="20" idx="0"/>
            <a:endCxn id="20" idx="3"/>
          </p:cNvCxnSpPr>
          <p:nvPr/>
        </p:nvCxnSpPr>
        <p:spPr>
          <a:xfrm>
            <a:off x="5902446" y="2546208"/>
            <a:ext cx="0" cy="2668185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20" name="Straight Connector 219"/>
          <p:cNvCxnSpPr>
            <a:stCxn id="20" idx="0"/>
            <a:endCxn id="20" idx="2"/>
          </p:cNvCxnSpPr>
          <p:nvPr/>
        </p:nvCxnSpPr>
        <p:spPr>
          <a:xfrm>
            <a:off x="5902446" y="2546208"/>
            <a:ext cx="492747" cy="1822439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23" name="Straight Connector 222"/>
          <p:cNvCxnSpPr>
            <a:stCxn id="20" idx="1"/>
          </p:cNvCxnSpPr>
          <p:nvPr/>
        </p:nvCxnSpPr>
        <p:spPr>
          <a:xfrm flipH="1">
            <a:off x="2757076" y="3391954"/>
            <a:ext cx="3638117" cy="0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27" name="Straight Connector 226"/>
          <p:cNvCxnSpPr>
            <a:stCxn id="20" idx="1"/>
            <a:endCxn id="20" idx="7"/>
          </p:cNvCxnSpPr>
          <p:nvPr/>
        </p:nvCxnSpPr>
        <p:spPr>
          <a:xfrm flipH="1">
            <a:off x="2717471" y="3391954"/>
            <a:ext cx="3677722" cy="976693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30" name="Straight Connector 229"/>
          <p:cNvCxnSpPr>
            <a:stCxn id="20" idx="1"/>
            <a:endCxn id="20" idx="6"/>
          </p:cNvCxnSpPr>
          <p:nvPr/>
        </p:nvCxnSpPr>
        <p:spPr>
          <a:xfrm flipH="1">
            <a:off x="3210218" y="3391954"/>
            <a:ext cx="3184975" cy="1822439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33" name="Straight Connector 232"/>
          <p:cNvCxnSpPr>
            <a:endCxn id="20" idx="5"/>
          </p:cNvCxnSpPr>
          <p:nvPr/>
        </p:nvCxnSpPr>
        <p:spPr>
          <a:xfrm flipH="1">
            <a:off x="4063585" y="3403420"/>
            <a:ext cx="2310560" cy="2299319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35" name="Straight Connector 234"/>
          <p:cNvCxnSpPr>
            <a:stCxn id="20" idx="1"/>
            <a:endCxn id="20" idx="4"/>
          </p:cNvCxnSpPr>
          <p:nvPr/>
        </p:nvCxnSpPr>
        <p:spPr>
          <a:xfrm flipH="1">
            <a:off x="5049079" y="3391954"/>
            <a:ext cx="1346114" cy="2310785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38" name="Straight Connector 237"/>
          <p:cNvCxnSpPr>
            <a:stCxn id="20" idx="1"/>
            <a:endCxn id="20" idx="3"/>
          </p:cNvCxnSpPr>
          <p:nvPr/>
        </p:nvCxnSpPr>
        <p:spPr>
          <a:xfrm flipH="1">
            <a:off x="5902446" y="3391954"/>
            <a:ext cx="492747" cy="1822439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3" name="Straight Connector 242"/>
          <p:cNvCxnSpPr>
            <a:stCxn id="20" idx="2"/>
            <a:endCxn id="20" idx="7"/>
          </p:cNvCxnSpPr>
          <p:nvPr/>
        </p:nvCxnSpPr>
        <p:spPr>
          <a:xfrm flipH="1">
            <a:off x="2717471" y="4368647"/>
            <a:ext cx="3677722" cy="0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6" name="Straight Connector 245"/>
          <p:cNvCxnSpPr>
            <a:stCxn id="20" idx="3"/>
            <a:endCxn id="20" idx="7"/>
          </p:cNvCxnSpPr>
          <p:nvPr/>
        </p:nvCxnSpPr>
        <p:spPr>
          <a:xfrm flipH="1" flipV="1">
            <a:off x="2717471" y="4368647"/>
            <a:ext cx="3184975" cy="845746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9" name="Straight Connector 248"/>
          <p:cNvCxnSpPr>
            <a:stCxn id="20" idx="4"/>
            <a:endCxn id="20" idx="7"/>
          </p:cNvCxnSpPr>
          <p:nvPr/>
        </p:nvCxnSpPr>
        <p:spPr>
          <a:xfrm flipH="1" flipV="1">
            <a:off x="2717471" y="4368647"/>
            <a:ext cx="2331608" cy="1334092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2" name="Straight Connector 251"/>
          <p:cNvCxnSpPr>
            <a:stCxn id="20" idx="5"/>
            <a:endCxn id="20" idx="7"/>
          </p:cNvCxnSpPr>
          <p:nvPr/>
        </p:nvCxnSpPr>
        <p:spPr>
          <a:xfrm flipH="1" flipV="1">
            <a:off x="2717471" y="4368647"/>
            <a:ext cx="1346114" cy="1334092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5" name="Straight Connector 254"/>
          <p:cNvCxnSpPr>
            <a:stCxn id="20" idx="2"/>
            <a:endCxn id="20" idx="6"/>
          </p:cNvCxnSpPr>
          <p:nvPr/>
        </p:nvCxnSpPr>
        <p:spPr>
          <a:xfrm flipH="1">
            <a:off x="3210218" y="4368647"/>
            <a:ext cx="3184975" cy="845746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60" name="Straight Connector 259"/>
          <p:cNvCxnSpPr>
            <a:stCxn id="20" idx="3"/>
            <a:endCxn id="20" idx="6"/>
          </p:cNvCxnSpPr>
          <p:nvPr/>
        </p:nvCxnSpPr>
        <p:spPr>
          <a:xfrm flipH="1">
            <a:off x="3210218" y="5214393"/>
            <a:ext cx="2692228" cy="0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63" name="Straight Connector 262"/>
          <p:cNvCxnSpPr>
            <a:stCxn id="20" idx="4"/>
            <a:endCxn id="20" idx="6"/>
          </p:cNvCxnSpPr>
          <p:nvPr/>
        </p:nvCxnSpPr>
        <p:spPr>
          <a:xfrm flipH="1" flipV="1">
            <a:off x="3210218" y="5214393"/>
            <a:ext cx="1838861" cy="488346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67" name="Straight Connector 266"/>
          <p:cNvCxnSpPr>
            <a:stCxn id="20" idx="2"/>
            <a:endCxn id="20" idx="5"/>
          </p:cNvCxnSpPr>
          <p:nvPr/>
        </p:nvCxnSpPr>
        <p:spPr>
          <a:xfrm flipH="1">
            <a:off x="4063585" y="4368647"/>
            <a:ext cx="2331608" cy="1334092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0" name="Straight Connector 269"/>
          <p:cNvCxnSpPr>
            <a:stCxn id="20" idx="3"/>
            <a:endCxn id="20" idx="5"/>
          </p:cNvCxnSpPr>
          <p:nvPr/>
        </p:nvCxnSpPr>
        <p:spPr>
          <a:xfrm flipH="1">
            <a:off x="4063585" y="5214393"/>
            <a:ext cx="1838861" cy="488346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3" name="Straight Connector 272"/>
          <p:cNvCxnSpPr>
            <a:stCxn id="20" idx="2"/>
            <a:endCxn id="20" idx="4"/>
          </p:cNvCxnSpPr>
          <p:nvPr/>
        </p:nvCxnSpPr>
        <p:spPr>
          <a:xfrm flipH="1">
            <a:off x="5049079" y="4368647"/>
            <a:ext cx="1346114" cy="1334092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7" name="Straight Connector 276"/>
          <p:cNvCxnSpPr>
            <a:stCxn id="20" idx="2"/>
            <a:endCxn id="20" idx="8"/>
          </p:cNvCxnSpPr>
          <p:nvPr/>
        </p:nvCxnSpPr>
        <p:spPr>
          <a:xfrm flipH="1" flipV="1">
            <a:off x="2717471" y="3391954"/>
            <a:ext cx="3677722" cy="976693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3" name="Straight Connector 282"/>
          <p:cNvCxnSpPr>
            <a:stCxn id="20" idx="3"/>
            <a:endCxn id="20" idx="8"/>
          </p:cNvCxnSpPr>
          <p:nvPr/>
        </p:nvCxnSpPr>
        <p:spPr>
          <a:xfrm flipH="1" flipV="1">
            <a:off x="2717471" y="3391954"/>
            <a:ext cx="3184975" cy="1822439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6" name="Straight Connector 285"/>
          <p:cNvCxnSpPr>
            <a:stCxn id="20" idx="4"/>
            <a:endCxn id="20" idx="8"/>
          </p:cNvCxnSpPr>
          <p:nvPr/>
        </p:nvCxnSpPr>
        <p:spPr>
          <a:xfrm flipH="1" flipV="1">
            <a:off x="2717471" y="3391954"/>
            <a:ext cx="2331608" cy="2310785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9" name="Straight Connector 288"/>
          <p:cNvCxnSpPr>
            <a:stCxn id="20" idx="5"/>
            <a:endCxn id="20" idx="8"/>
          </p:cNvCxnSpPr>
          <p:nvPr/>
        </p:nvCxnSpPr>
        <p:spPr>
          <a:xfrm flipH="1" flipV="1">
            <a:off x="2717471" y="3391954"/>
            <a:ext cx="1346114" cy="2310785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2" name="Straight Connector 291"/>
          <p:cNvCxnSpPr>
            <a:stCxn id="20" idx="6"/>
            <a:endCxn id="20" idx="8"/>
          </p:cNvCxnSpPr>
          <p:nvPr/>
        </p:nvCxnSpPr>
        <p:spPr>
          <a:xfrm flipH="1" flipV="1">
            <a:off x="2717471" y="3391954"/>
            <a:ext cx="492747" cy="1822439"/>
          </a:xfrm>
          <a:prstGeom prst="line">
            <a:avLst/>
          </a:prstGeom>
          <a:noFill/>
          <a:ln w="1905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03" name="Group 302"/>
          <p:cNvGrpSpPr/>
          <p:nvPr/>
        </p:nvGrpSpPr>
        <p:grpSpPr>
          <a:xfrm>
            <a:off x="3443876" y="3655550"/>
            <a:ext cx="2250339" cy="437779"/>
            <a:chOff x="3481976" y="3655550"/>
            <a:chExt cx="2250339" cy="437779"/>
          </a:xfrm>
        </p:grpSpPr>
        <p:grpSp>
          <p:nvGrpSpPr>
            <p:cNvPr id="198" name="Group 197"/>
            <p:cNvGrpSpPr/>
            <p:nvPr/>
          </p:nvGrpSpPr>
          <p:grpSpPr>
            <a:xfrm>
              <a:off x="3481976" y="3655550"/>
              <a:ext cx="2250339" cy="437779"/>
              <a:chOff x="3510551" y="3961324"/>
              <a:chExt cx="2250339" cy="437779"/>
            </a:xfrm>
          </p:grpSpPr>
          <p:sp>
            <p:nvSpPr>
              <p:cNvPr id="199" name="Rectangle 198"/>
              <p:cNvSpPr/>
              <p:nvPr/>
            </p:nvSpPr>
            <p:spPr>
              <a:xfrm>
                <a:off x="3789802" y="3961324"/>
                <a:ext cx="1644980" cy="41701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0" name="TextBox 199"/>
              <p:cNvSpPr txBox="1"/>
              <p:nvPr/>
            </p:nvSpPr>
            <p:spPr>
              <a:xfrm>
                <a:off x="3510551" y="3983027"/>
                <a:ext cx="2250339" cy="416076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Life Cycle Sustainment Plan (LCSP)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F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Product Support 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25" b="1" i="1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FF"/>
                    </a:solidFill>
                    <a:effectLst/>
                    <a:uLnTx/>
                    <a:uFillTx/>
                    <a:latin typeface="Arial Narrow" pitchFamily="34" charset="0"/>
                    <a:ea typeface="+mn-ea"/>
                    <a:cs typeface="+mn-cs"/>
                  </a:rPr>
                  <a:t>Strategy Documentation</a:t>
                </a:r>
                <a:endParaRPr kumimoji="0" lang="en-US" sz="825" b="1" i="1" u="none" strike="noStrike" kern="1200" cap="none" spc="0" normalizeH="0" baseline="0" noProof="0" dirty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Arial Narrow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302" name="Rectangle 301"/>
            <p:cNvSpPr/>
            <p:nvPr/>
          </p:nvSpPr>
          <p:spPr>
            <a:xfrm>
              <a:off x="3799438" y="3681696"/>
              <a:ext cx="1607928" cy="377526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04" name="Rectangle 303"/>
          <p:cNvSpPr/>
          <p:nvPr/>
        </p:nvSpPr>
        <p:spPr>
          <a:xfrm>
            <a:off x="2233924" y="631329"/>
            <a:ext cx="4572000" cy="2492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  <a:hlinkClick r:id="rId30"/>
              </a:rPr>
              <a:t>https://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  <a:hlinkClick r:id="rId30"/>
              </a:rPr>
              <a:t>www.dau.mil/tools/p/integrated-Product-Support-Guidebook-Suite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pic>
        <p:nvPicPr>
          <p:cNvPr id="305" name="Picture 304"/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2857" y="4121099"/>
            <a:ext cx="429949" cy="558137"/>
          </a:xfrm>
          <a:prstGeom prst="rect">
            <a:avLst/>
          </a:prstGeom>
          <a:ln w="19050">
            <a:solidFill>
              <a:srgbClr val="003366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06" name="Picture 305"/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0478" y="5127678"/>
            <a:ext cx="466281" cy="606768"/>
          </a:xfrm>
          <a:prstGeom prst="rect">
            <a:avLst/>
          </a:prstGeom>
          <a:ln w="19050">
            <a:solidFill>
              <a:srgbClr val="003366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07" name="Picture 306"/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0468" y="5103089"/>
            <a:ext cx="447401" cy="579516"/>
          </a:xfrm>
          <a:prstGeom prst="rect">
            <a:avLst/>
          </a:prstGeom>
          <a:ln w="19050">
            <a:solidFill>
              <a:srgbClr val="003366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1" name="Picture 130"/>
          <p:cNvPicPr>
            <a:picLocks noChangeAspect="1"/>
          </p:cNvPicPr>
          <p:nvPr/>
        </p:nvPicPr>
        <p:blipFill rotWithShape="1"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1479" y="2193600"/>
            <a:ext cx="668456" cy="464763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132" name="Picture 131"/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0597" y="5836724"/>
            <a:ext cx="422301" cy="544840"/>
          </a:xfrm>
          <a:prstGeom prst="rect">
            <a:avLst/>
          </a:prstGeom>
          <a:ln w="19050">
            <a:solidFill>
              <a:srgbClr val="003366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3" name="TextBox 132"/>
          <p:cNvSpPr txBox="1"/>
          <p:nvPr/>
        </p:nvSpPr>
        <p:spPr>
          <a:xfrm>
            <a:off x="4178992" y="6399823"/>
            <a:ext cx="944002" cy="6319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Corrosion Manual</a:t>
            </a:r>
          </a:p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Corrosion</a:t>
            </a:r>
            <a:r>
              <a:rPr kumimoji="0" lang="en-US" sz="825" b="1" i="1" u="none" strike="noStrike" kern="1200" cap="none" spc="0" normalizeH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Prevention &amp; Control</a:t>
            </a:r>
            <a:endParaRPr kumimoji="0" lang="en-US" sz="825" b="1" i="1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25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endParaRPr kumimoji="0" lang="en-US" sz="825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5007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6452" y="51411"/>
            <a:ext cx="6858000" cy="523275"/>
          </a:xfrm>
        </p:spPr>
        <p:txBody>
          <a:bodyPr/>
          <a:lstStyle/>
          <a:p>
            <a:r>
              <a:rPr lang="en-US" sz="3200" b="1" i="1" kern="0" dirty="0" smtClean="0">
                <a:solidFill>
                  <a:srgbClr val="000099"/>
                </a:solidFill>
                <a:latin typeface="Arial Narrow" panose="020B0606020202030204" pitchFamily="34" charset="0"/>
              </a:rPr>
              <a:t>Logistics Functional Area Gateway</a:t>
            </a:r>
            <a:endParaRPr lang="en-US" sz="3200" b="1" i="1" kern="0" dirty="0">
              <a:solidFill>
                <a:srgbClr val="000099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5699" y="1006076"/>
            <a:ext cx="3884362" cy="1150395"/>
          </a:xfrm>
        </p:spPr>
        <p:txBody>
          <a:bodyPr/>
          <a:lstStyle/>
          <a:p>
            <a:r>
              <a:rPr lang="en-US" sz="1800" b="1" dirty="0" smtClean="0">
                <a:solidFill>
                  <a:srgbClr val="990000"/>
                </a:solidFill>
              </a:rPr>
              <a:t>Menu &amp; Operational Status</a:t>
            </a:r>
            <a:endParaRPr lang="en-US" sz="1800" b="1" dirty="0" smtClean="0">
              <a:solidFill>
                <a:srgbClr val="CC0000"/>
              </a:solidFill>
            </a:endParaRPr>
          </a:p>
          <a:p>
            <a:pPr lvl="1"/>
            <a:r>
              <a:rPr lang="en-US" sz="1400" dirty="0" smtClean="0"/>
              <a:t>DAU Regional Locations &amp; Colleges</a:t>
            </a:r>
          </a:p>
          <a:p>
            <a:pPr lvl="1"/>
            <a:r>
              <a:rPr lang="en-US" sz="1400" dirty="0" smtClean="0"/>
              <a:t>Product Support References &amp; Tools</a:t>
            </a:r>
          </a:p>
          <a:p>
            <a:pPr lvl="1"/>
            <a:r>
              <a:rPr lang="en-US" sz="1400" dirty="0" smtClean="0"/>
              <a:t>Product Support Policy &amp; Guidance</a:t>
            </a:r>
          </a:p>
          <a:p>
            <a:pPr marL="457200" lvl="1" indent="0">
              <a:buNone/>
            </a:pPr>
            <a:endParaRPr lang="en-US" sz="600" dirty="0" smtClean="0"/>
          </a:p>
          <a:p>
            <a:pPr marL="0" indent="0">
              <a:buNone/>
            </a:pPr>
            <a:endParaRPr lang="en-US" sz="2000" dirty="0" smtClean="0"/>
          </a:p>
        </p:txBody>
      </p:sp>
      <p:sp>
        <p:nvSpPr>
          <p:cNvPr id="6" name="Right Arrow 5"/>
          <p:cNvSpPr/>
          <p:nvPr/>
        </p:nvSpPr>
        <p:spPr>
          <a:xfrm>
            <a:off x="4135367" y="2250077"/>
            <a:ext cx="1073153" cy="139969"/>
          </a:xfrm>
          <a:prstGeom prst="rightArrow">
            <a:avLst/>
          </a:prstGeom>
          <a:solidFill>
            <a:srgbClr val="CC0000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ight Arrow 6"/>
          <p:cNvSpPr/>
          <p:nvPr/>
        </p:nvSpPr>
        <p:spPr>
          <a:xfrm>
            <a:off x="4129144" y="2943662"/>
            <a:ext cx="1073153" cy="139969"/>
          </a:xfrm>
          <a:prstGeom prst="rightArrow">
            <a:avLst/>
          </a:prstGeom>
          <a:solidFill>
            <a:srgbClr val="CC0000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ight Arrow 7"/>
          <p:cNvSpPr/>
          <p:nvPr/>
        </p:nvSpPr>
        <p:spPr>
          <a:xfrm>
            <a:off x="4122918" y="4999508"/>
            <a:ext cx="1073153" cy="139969"/>
          </a:xfrm>
          <a:prstGeom prst="rightArrow">
            <a:avLst/>
          </a:prstGeom>
          <a:solidFill>
            <a:srgbClr val="CC0000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4135356" y="6150296"/>
            <a:ext cx="1073153" cy="139969"/>
          </a:xfrm>
          <a:prstGeom prst="rightArrow">
            <a:avLst/>
          </a:prstGeom>
          <a:solidFill>
            <a:srgbClr val="CC0000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73023" y="5925439"/>
            <a:ext cx="3508512" cy="5632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tact &amp; 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ganizational Information &amp; Feedback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99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73022" y="4921926"/>
            <a:ext cx="3970994" cy="5632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gistics Director’s Blog</a:t>
            </a:r>
          </a:p>
          <a:p>
            <a:pPr marR="0" lvl="1" algn="l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99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73023" y="2797381"/>
            <a:ext cx="4572000" cy="1920526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gistic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ick Link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aining &amp; CL Modul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munities of Practice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sk-a-Professor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Quipedia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rtification Standard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duct Support Guidance Suit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3023" y="2126628"/>
            <a:ext cx="32153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tator Announcement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991237" y="614944"/>
            <a:ext cx="6010363" cy="3539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https://www.dau.mil/training/career-development/logistics/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5022" y="1117974"/>
            <a:ext cx="3687005" cy="5456964"/>
          </a:xfrm>
          <a:prstGeom prst="rect">
            <a:avLst/>
          </a:prstGeom>
        </p:spPr>
      </p:pic>
      <p:sp>
        <p:nvSpPr>
          <p:cNvPr id="19" name="Right Arrow 18"/>
          <p:cNvSpPr/>
          <p:nvPr/>
        </p:nvSpPr>
        <p:spPr>
          <a:xfrm>
            <a:off x="4138471" y="1142841"/>
            <a:ext cx="1073153" cy="139969"/>
          </a:xfrm>
          <a:prstGeom prst="rightArrow">
            <a:avLst/>
          </a:prstGeom>
          <a:solidFill>
            <a:srgbClr val="CC0000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7553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QQFKW9SkeJqisOPnj.kA"/>
</p:tagLst>
</file>

<file path=ppt/theme/theme1.xml><?xml version="1.0" encoding="utf-8"?>
<a:theme xmlns:a="http://schemas.openxmlformats.org/drawingml/2006/main" name="5 white background logo top">
  <a:themeElements>
    <a:clrScheme name="5 white background logo top 1">
      <a:dk1>
        <a:srgbClr val="000000"/>
      </a:dk1>
      <a:lt1>
        <a:srgbClr val="FFFFFF"/>
      </a:lt1>
      <a:dk2>
        <a:srgbClr val="000000"/>
      </a:dk2>
      <a:lt2>
        <a:srgbClr val="247D9C"/>
      </a:lt2>
      <a:accent1>
        <a:srgbClr val="D21034"/>
      </a:accent1>
      <a:accent2>
        <a:srgbClr val="E4C191"/>
      </a:accent2>
      <a:accent3>
        <a:srgbClr val="FFFFFF"/>
      </a:accent3>
      <a:accent4>
        <a:srgbClr val="000000"/>
      </a:accent4>
      <a:accent5>
        <a:srgbClr val="E5AAAE"/>
      </a:accent5>
      <a:accent6>
        <a:srgbClr val="CFAF83"/>
      </a:accent6>
      <a:hlink>
        <a:srgbClr val="9F2D20"/>
      </a:hlink>
      <a:folHlink>
        <a:srgbClr val="FBE181"/>
      </a:folHlink>
    </a:clrScheme>
    <a:fontScheme name="5 white background logo top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5 white background logo top 1">
        <a:dk1>
          <a:srgbClr val="000000"/>
        </a:dk1>
        <a:lt1>
          <a:srgbClr val="FFFFFF"/>
        </a:lt1>
        <a:dk2>
          <a:srgbClr val="000000"/>
        </a:dk2>
        <a:lt2>
          <a:srgbClr val="247D9C"/>
        </a:lt2>
        <a:accent1>
          <a:srgbClr val="D21034"/>
        </a:accent1>
        <a:accent2>
          <a:srgbClr val="E4C191"/>
        </a:accent2>
        <a:accent3>
          <a:srgbClr val="FFFFFF"/>
        </a:accent3>
        <a:accent4>
          <a:srgbClr val="000000"/>
        </a:accent4>
        <a:accent5>
          <a:srgbClr val="E5AAAE"/>
        </a:accent5>
        <a:accent6>
          <a:srgbClr val="CFAF83"/>
        </a:accent6>
        <a:hlink>
          <a:srgbClr val="9F2D20"/>
        </a:hlink>
        <a:folHlink>
          <a:srgbClr val="FBE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_5 white background logo top">
  <a:themeElements>
    <a:clrScheme name="5 white background logo top 1">
      <a:dk1>
        <a:srgbClr val="000000"/>
      </a:dk1>
      <a:lt1>
        <a:srgbClr val="FFFFFF"/>
      </a:lt1>
      <a:dk2>
        <a:srgbClr val="000000"/>
      </a:dk2>
      <a:lt2>
        <a:srgbClr val="247D9C"/>
      </a:lt2>
      <a:accent1>
        <a:srgbClr val="D21034"/>
      </a:accent1>
      <a:accent2>
        <a:srgbClr val="E4C191"/>
      </a:accent2>
      <a:accent3>
        <a:srgbClr val="FFFFFF"/>
      </a:accent3>
      <a:accent4>
        <a:srgbClr val="000000"/>
      </a:accent4>
      <a:accent5>
        <a:srgbClr val="E5AAAE"/>
      </a:accent5>
      <a:accent6>
        <a:srgbClr val="CFAF83"/>
      </a:accent6>
      <a:hlink>
        <a:srgbClr val="9F2D20"/>
      </a:hlink>
      <a:folHlink>
        <a:srgbClr val="FBE181"/>
      </a:folHlink>
    </a:clrScheme>
    <a:fontScheme name="5 white background logo top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5 white background logo top 1">
        <a:dk1>
          <a:srgbClr val="000000"/>
        </a:dk1>
        <a:lt1>
          <a:srgbClr val="FFFFFF"/>
        </a:lt1>
        <a:dk2>
          <a:srgbClr val="000000"/>
        </a:dk2>
        <a:lt2>
          <a:srgbClr val="247D9C"/>
        </a:lt2>
        <a:accent1>
          <a:srgbClr val="D21034"/>
        </a:accent1>
        <a:accent2>
          <a:srgbClr val="E4C191"/>
        </a:accent2>
        <a:accent3>
          <a:srgbClr val="FFFFFF"/>
        </a:accent3>
        <a:accent4>
          <a:srgbClr val="000000"/>
        </a:accent4>
        <a:accent5>
          <a:srgbClr val="E5AAAE"/>
        </a:accent5>
        <a:accent6>
          <a:srgbClr val="CFAF83"/>
        </a:accent6>
        <a:hlink>
          <a:srgbClr val="9F2D20"/>
        </a:hlink>
        <a:folHlink>
          <a:srgbClr val="FBE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3_5 white background logo top">
  <a:themeElements>
    <a:clrScheme name="5 white background logo top 1">
      <a:dk1>
        <a:srgbClr val="000000"/>
      </a:dk1>
      <a:lt1>
        <a:srgbClr val="FFFFFF"/>
      </a:lt1>
      <a:dk2>
        <a:srgbClr val="000000"/>
      </a:dk2>
      <a:lt2>
        <a:srgbClr val="247D9C"/>
      </a:lt2>
      <a:accent1>
        <a:srgbClr val="D21034"/>
      </a:accent1>
      <a:accent2>
        <a:srgbClr val="E4C191"/>
      </a:accent2>
      <a:accent3>
        <a:srgbClr val="FFFFFF"/>
      </a:accent3>
      <a:accent4>
        <a:srgbClr val="000000"/>
      </a:accent4>
      <a:accent5>
        <a:srgbClr val="E5AAAE"/>
      </a:accent5>
      <a:accent6>
        <a:srgbClr val="CFAF83"/>
      </a:accent6>
      <a:hlink>
        <a:srgbClr val="9F2D20"/>
      </a:hlink>
      <a:folHlink>
        <a:srgbClr val="FBE181"/>
      </a:folHlink>
    </a:clrScheme>
    <a:fontScheme name="5 white background logo top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5 white background logo top 1">
        <a:dk1>
          <a:srgbClr val="000000"/>
        </a:dk1>
        <a:lt1>
          <a:srgbClr val="FFFFFF"/>
        </a:lt1>
        <a:dk2>
          <a:srgbClr val="000000"/>
        </a:dk2>
        <a:lt2>
          <a:srgbClr val="247D9C"/>
        </a:lt2>
        <a:accent1>
          <a:srgbClr val="D21034"/>
        </a:accent1>
        <a:accent2>
          <a:srgbClr val="E4C191"/>
        </a:accent2>
        <a:accent3>
          <a:srgbClr val="FFFFFF"/>
        </a:accent3>
        <a:accent4>
          <a:srgbClr val="000000"/>
        </a:accent4>
        <a:accent5>
          <a:srgbClr val="E5AAAE"/>
        </a:accent5>
        <a:accent6>
          <a:srgbClr val="CFAF83"/>
        </a:accent6>
        <a:hlink>
          <a:srgbClr val="9F2D20"/>
        </a:hlink>
        <a:folHlink>
          <a:srgbClr val="FBE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4_5 white background logo top">
  <a:themeElements>
    <a:clrScheme name="5 white background logo top 1">
      <a:dk1>
        <a:srgbClr val="000000"/>
      </a:dk1>
      <a:lt1>
        <a:srgbClr val="FFFFFF"/>
      </a:lt1>
      <a:dk2>
        <a:srgbClr val="000000"/>
      </a:dk2>
      <a:lt2>
        <a:srgbClr val="247D9C"/>
      </a:lt2>
      <a:accent1>
        <a:srgbClr val="D21034"/>
      </a:accent1>
      <a:accent2>
        <a:srgbClr val="E4C191"/>
      </a:accent2>
      <a:accent3>
        <a:srgbClr val="FFFFFF"/>
      </a:accent3>
      <a:accent4>
        <a:srgbClr val="000000"/>
      </a:accent4>
      <a:accent5>
        <a:srgbClr val="E5AAAE"/>
      </a:accent5>
      <a:accent6>
        <a:srgbClr val="CFAF83"/>
      </a:accent6>
      <a:hlink>
        <a:srgbClr val="9F2D20"/>
      </a:hlink>
      <a:folHlink>
        <a:srgbClr val="FBE181"/>
      </a:folHlink>
    </a:clrScheme>
    <a:fontScheme name="5 white background logo top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5 white background logo top 1">
        <a:dk1>
          <a:srgbClr val="000000"/>
        </a:dk1>
        <a:lt1>
          <a:srgbClr val="FFFFFF"/>
        </a:lt1>
        <a:dk2>
          <a:srgbClr val="000000"/>
        </a:dk2>
        <a:lt2>
          <a:srgbClr val="247D9C"/>
        </a:lt2>
        <a:accent1>
          <a:srgbClr val="D21034"/>
        </a:accent1>
        <a:accent2>
          <a:srgbClr val="E4C191"/>
        </a:accent2>
        <a:accent3>
          <a:srgbClr val="FFFFFF"/>
        </a:accent3>
        <a:accent4>
          <a:srgbClr val="000000"/>
        </a:accent4>
        <a:accent5>
          <a:srgbClr val="E5AAAE"/>
        </a:accent5>
        <a:accent6>
          <a:srgbClr val="CFAF83"/>
        </a:accent6>
        <a:hlink>
          <a:srgbClr val="9F2D20"/>
        </a:hlink>
        <a:folHlink>
          <a:srgbClr val="FBE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4_OSD PSAT Template_v3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5_OSD PSAT Template_v3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6_OSD PSAT Template_v3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5_5 white background logo top">
  <a:themeElements>
    <a:clrScheme name="5 white background logo top 1">
      <a:dk1>
        <a:srgbClr val="000000"/>
      </a:dk1>
      <a:lt1>
        <a:srgbClr val="FFFFFF"/>
      </a:lt1>
      <a:dk2>
        <a:srgbClr val="000000"/>
      </a:dk2>
      <a:lt2>
        <a:srgbClr val="247D9C"/>
      </a:lt2>
      <a:accent1>
        <a:srgbClr val="D21034"/>
      </a:accent1>
      <a:accent2>
        <a:srgbClr val="E4C191"/>
      </a:accent2>
      <a:accent3>
        <a:srgbClr val="FFFFFF"/>
      </a:accent3>
      <a:accent4>
        <a:srgbClr val="000000"/>
      </a:accent4>
      <a:accent5>
        <a:srgbClr val="E5AAAE"/>
      </a:accent5>
      <a:accent6>
        <a:srgbClr val="CFAF83"/>
      </a:accent6>
      <a:hlink>
        <a:srgbClr val="9F2D20"/>
      </a:hlink>
      <a:folHlink>
        <a:srgbClr val="FBE181"/>
      </a:folHlink>
    </a:clrScheme>
    <a:fontScheme name="5 white background logo top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5 white background logo top 1">
        <a:dk1>
          <a:srgbClr val="000000"/>
        </a:dk1>
        <a:lt1>
          <a:srgbClr val="FFFFFF"/>
        </a:lt1>
        <a:dk2>
          <a:srgbClr val="000000"/>
        </a:dk2>
        <a:lt2>
          <a:srgbClr val="247D9C"/>
        </a:lt2>
        <a:accent1>
          <a:srgbClr val="D21034"/>
        </a:accent1>
        <a:accent2>
          <a:srgbClr val="E4C191"/>
        </a:accent2>
        <a:accent3>
          <a:srgbClr val="FFFFFF"/>
        </a:accent3>
        <a:accent4>
          <a:srgbClr val="000000"/>
        </a:accent4>
        <a:accent5>
          <a:srgbClr val="E5AAAE"/>
        </a:accent5>
        <a:accent6>
          <a:srgbClr val="CFAF83"/>
        </a:accent6>
        <a:hlink>
          <a:srgbClr val="9F2D20"/>
        </a:hlink>
        <a:folHlink>
          <a:srgbClr val="FBE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8_5 white background logo top">
  <a:themeElements>
    <a:clrScheme name="5 white background logo top 1">
      <a:dk1>
        <a:srgbClr val="000000"/>
      </a:dk1>
      <a:lt1>
        <a:srgbClr val="FFFFFF"/>
      </a:lt1>
      <a:dk2>
        <a:srgbClr val="000000"/>
      </a:dk2>
      <a:lt2>
        <a:srgbClr val="247D9C"/>
      </a:lt2>
      <a:accent1>
        <a:srgbClr val="D21034"/>
      </a:accent1>
      <a:accent2>
        <a:srgbClr val="E4C191"/>
      </a:accent2>
      <a:accent3>
        <a:srgbClr val="FFFFFF"/>
      </a:accent3>
      <a:accent4>
        <a:srgbClr val="000000"/>
      </a:accent4>
      <a:accent5>
        <a:srgbClr val="E5AAAE"/>
      </a:accent5>
      <a:accent6>
        <a:srgbClr val="CFAF83"/>
      </a:accent6>
      <a:hlink>
        <a:srgbClr val="9F2D20"/>
      </a:hlink>
      <a:folHlink>
        <a:srgbClr val="FBE181"/>
      </a:folHlink>
    </a:clrScheme>
    <a:fontScheme name="5 white background logo top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 white background logo top 1">
        <a:dk1>
          <a:srgbClr val="000000"/>
        </a:dk1>
        <a:lt1>
          <a:srgbClr val="FFFFFF"/>
        </a:lt1>
        <a:dk2>
          <a:srgbClr val="000000"/>
        </a:dk2>
        <a:lt2>
          <a:srgbClr val="247D9C"/>
        </a:lt2>
        <a:accent1>
          <a:srgbClr val="D21034"/>
        </a:accent1>
        <a:accent2>
          <a:srgbClr val="E4C191"/>
        </a:accent2>
        <a:accent3>
          <a:srgbClr val="FFFFFF"/>
        </a:accent3>
        <a:accent4>
          <a:srgbClr val="000000"/>
        </a:accent4>
        <a:accent5>
          <a:srgbClr val="E5AAAE"/>
        </a:accent5>
        <a:accent6>
          <a:srgbClr val="CFAF83"/>
        </a:accent6>
        <a:hlink>
          <a:srgbClr val="9F2D20"/>
        </a:hlink>
        <a:folHlink>
          <a:srgbClr val="FBE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7_OSD PSAT Template_v3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6_5 white background logo top">
  <a:themeElements>
    <a:clrScheme name="5 white background logo top 1">
      <a:dk1>
        <a:srgbClr val="000000"/>
      </a:dk1>
      <a:lt1>
        <a:srgbClr val="FFFFFF"/>
      </a:lt1>
      <a:dk2>
        <a:srgbClr val="000000"/>
      </a:dk2>
      <a:lt2>
        <a:srgbClr val="247D9C"/>
      </a:lt2>
      <a:accent1>
        <a:srgbClr val="D21034"/>
      </a:accent1>
      <a:accent2>
        <a:srgbClr val="E4C191"/>
      </a:accent2>
      <a:accent3>
        <a:srgbClr val="FFFFFF"/>
      </a:accent3>
      <a:accent4>
        <a:srgbClr val="000000"/>
      </a:accent4>
      <a:accent5>
        <a:srgbClr val="E5AAAE"/>
      </a:accent5>
      <a:accent6>
        <a:srgbClr val="CFAF83"/>
      </a:accent6>
      <a:hlink>
        <a:srgbClr val="9F2D20"/>
      </a:hlink>
      <a:folHlink>
        <a:srgbClr val="FBE181"/>
      </a:folHlink>
    </a:clrScheme>
    <a:fontScheme name="5 white background logo top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5 white background logo top 1">
        <a:dk1>
          <a:srgbClr val="000000"/>
        </a:dk1>
        <a:lt1>
          <a:srgbClr val="FFFFFF"/>
        </a:lt1>
        <a:dk2>
          <a:srgbClr val="000000"/>
        </a:dk2>
        <a:lt2>
          <a:srgbClr val="247D9C"/>
        </a:lt2>
        <a:accent1>
          <a:srgbClr val="D21034"/>
        </a:accent1>
        <a:accent2>
          <a:srgbClr val="E4C191"/>
        </a:accent2>
        <a:accent3>
          <a:srgbClr val="FFFFFF"/>
        </a:accent3>
        <a:accent4>
          <a:srgbClr val="000000"/>
        </a:accent4>
        <a:accent5>
          <a:srgbClr val="E5AAAE"/>
        </a:accent5>
        <a:accent6>
          <a:srgbClr val="CFAF83"/>
        </a:accent6>
        <a:hlink>
          <a:srgbClr val="9F2D20"/>
        </a:hlink>
        <a:folHlink>
          <a:srgbClr val="FBE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7_5 white background logo top">
  <a:themeElements>
    <a:clrScheme name="5 white background logo top 1">
      <a:dk1>
        <a:srgbClr val="000000"/>
      </a:dk1>
      <a:lt1>
        <a:srgbClr val="FFFFFF"/>
      </a:lt1>
      <a:dk2>
        <a:srgbClr val="000000"/>
      </a:dk2>
      <a:lt2>
        <a:srgbClr val="247D9C"/>
      </a:lt2>
      <a:accent1>
        <a:srgbClr val="D21034"/>
      </a:accent1>
      <a:accent2>
        <a:srgbClr val="E4C191"/>
      </a:accent2>
      <a:accent3>
        <a:srgbClr val="FFFFFF"/>
      </a:accent3>
      <a:accent4>
        <a:srgbClr val="000000"/>
      </a:accent4>
      <a:accent5>
        <a:srgbClr val="E5AAAE"/>
      </a:accent5>
      <a:accent6>
        <a:srgbClr val="CFAF83"/>
      </a:accent6>
      <a:hlink>
        <a:srgbClr val="9F2D20"/>
      </a:hlink>
      <a:folHlink>
        <a:srgbClr val="FBE181"/>
      </a:folHlink>
    </a:clrScheme>
    <a:fontScheme name="5 white background logo top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5 white background logo top 1">
        <a:dk1>
          <a:srgbClr val="000000"/>
        </a:dk1>
        <a:lt1>
          <a:srgbClr val="FFFFFF"/>
        </a:lt1>
        <a:dk2>
          <a:srgbClr val="000000"/>
        </a:dk2>
        <a:lt2>
          <a:srgbClr val="247D9C"/>
        </a:lt2>
        <a:accent1>
          <a:srgbClr val="D21034"/>
        </a:accent1>
        <a:accent2>
          <a:srgbClr val="E4C191"/>
        </a:accent2>
        <a:accent3>
          <a:srgbClr val="FFFFFF"/>
        </a:accent3>
        <a:accent4>
          <a:srgbClr val="000000"/>
        </a:accent4>
        <a:accent5>
          <a:srgbClr val="E5AAAE"/>
        </a:accent5>
        <a:accent6>
          <a:srgbClr val="CFAF83"/>
        </a:accent6>
        <a:hlink>
          <a:srgbClr val="9F2D20"/>
        </a:hlink>
        <a:folHlink>
          <a:srgbClr val="FBE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9_5 white background logo top">
  <a:themeElements>
    <a:clrScheme name="5 white background logo top 1">
      <a:dk1>
        <a:srgbClr val="000000"/>
      </a:dk1>
      <a:lt1>
        <a:srgbClr val="FFFFFF"/>
      </a:lt1>
      <a:dk2>
        <a:srgbClr val="000000"/>
      </a:dk2>
      <a:lt2>
        <a:srgbClr val="247D9C"/>
      </a:lt2>
      <a:accent1>
        <a:srgbClr val="D21034"/>
      </a:accent1>
      <a:accent2>
        <a:srgbClr val="E4C191"/>
      </a:accent2>
      <a:accent3>
        <a:srgbClr val="FFFFFF"/>
      </a:accent3>
      <a:accent4>
        <a:srgbClr val="000000"/>
      </a:accent4>
      <a:accent5>
        <a:srgbClr val="E5AAAE"/>
      </a:accent5>
      <a:accent6>
        <a:srgbClr val="CFAF83"/>
      </a:accent6>
      <a:hlink>
        <a:srgbClr val="9F2D20"/>
      </a:hlink>
      <a:folHlink>
        <a:srgbClr val="FBE181"/>
      </a:folHlink>
    </a:clrScheme>
    <a:fontScheme name="5 white background logo top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5 white background logo top 1">
        <a:dk1>
          <a:srgbClr val="000000"/>
        </a:dk1>
        <a:lt1>
          <a:srgbClr val="FFFFFF"/>
        </a:lt1>
        <a:dk2>
          <a:srgbClr val="000000"/>
        </a:dk2>
        <a:lt2>
          <a:srgbClr val="247D9C"/>
        </a:lt2>
        <a:accent1>
          <a:srgbClr val="D21034"/>
        </a:accent1>
        <a:accent2>
          <a:srgbClr val="E4C191"/>
        </a:accent2>
        <a:accent3>
          <a:srgbClr val="FFFFFF"/>
        </a:accent3>
        <a:accent4>
          <a:srgbClr val="000000"/>
        </a:accent4>
        <a:accent5>
          <a:srgbClr val="E5AAAE"/>
        </a:accent5>
        <a:accent6>
          <a:srgbClr val="CFAF83"/>
        </a:accent6>
        <a:hlink>
          <a:srgbClr val="9F2D20"/>
        </a:hlink>
        <a:folHlink>
          <a:srgbClr val="FBE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10_5 white background logo top">
  <a:themeElements>
    <a:clrScheme name="5 white background logo top 1">
      <a:dk1>
        <a:srgbClr val="000000"/>
      </a:dk1>
      <a:lt1>
        <a:srgbClr val="FFFFFF"/>
      </a:lt1>
      <a:dk2>
        <a:srgbClr val="000000"/>
      </a:dk2>
      <a:lt2>
        <a:srgbClr val="247D9C"/>
      </a:lt2>
      <a:accent1>
        <a:srgbClr val="D21034"/>
      </a:accent1>
      <a:accent2>
        <a:srgbClr val="E4C191"/>
      </a:accent2>
      <a:accent3>
        <a:srgbClr val="FFFFFF"/>
      </a:accent3>
      <a:accent4>
        <a:srgbClr val="000000"/>
      </a:accent4>
      <a:accent5>
        <a:srgbClr val="E5AAAE"/>
      </a:accent5>
      <a:accent6>
        <a:srgbClr val="CFAF83"/>
      </a:accent6>
      <a:hlink>
        <a:srgbClr val="9F2D20"/>
      </a:hlink>
      <a:folHlink>
        <a:srgbClr val="FBE181"/>
      </a:folHlink>
    </a:clrScheme>
    <a:fontScheme name="5 white background logo top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 white background logo top 1">
        <a:dk1>
          <a:srgbClr val="000000"/>
        </a:dk1>
        <a:lt1>
          <a:srgbClr val="FFFFFF"/>
        </a:lt1>
        <a:dk2>
          <a:srgbClr val="000000"/>
        </a:dk2>
        <a:lt2>
          <a:srgbClr val="247D9C"/>
        </a:lt2>
        <a:accent1>
          <a:srgbClr val="D21034"/>
        </a:accent1>
        <a:accent2>
          <a:srgbClr val="E4C191"/>
        </a:accent2>
        <a:accent3>
          <a:srgbClr val="FFFFFF"/>
        </a:accent3>
        <a:accent4>
          <a:srgbClr val="000000"/>
        </a:accent4>
        <a:accent5>
          <a:srgbClr val="E5AAAE"/>
        </a:accent5>
        <a:accent6>
          <a:srgbClr val="CFAF83"/>
        </a:accent6>
        <a:hlink>
          <a:srgbClr val="9F2D20"/>
        </a:hlink>
        <a:folHlink>
          <a:srgbClr val="FBE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AF Briefing Format">
  <a:themeElements>
    <a:clrScheme name="USAF(Unclas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USAF(Unclas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SAF(Unclas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AF(Unclas)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AF(Unclas)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AF(Unclas)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AF(Unclas)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AF(Unclas)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AF(Unclas)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11_5 white background logo top">
  <a:themeElements>
    <a:clrScheme name="5 white background logo top 1">
      <a:dk1>
        <a:srgbClr val="000000"/>
      </a:dk1>
      <a:lt1>
        <a:srgbClr val="FFFFFF"/>
      </a:lt1>
      <a:dk2>
        <a:srgbClr val="000000"/>
      </a:dk2>
      <a:lt2>
        <a:srgbClr val="247D9C"/>
      </a:lt2>
      <a:accent1>
        <a:srgbClr val="D21034"/>
      </a:accent1>
      <a:accent2>
        <a:srgbClr val="E4C191"/>
      </a:accent2>
      <a:accent3>
        <a:srgbClr val="FFFFFF"/>
      </a:accent3>
      <a:accent4>
        <a:srgbClr val="000000"/>
      </a:accent4>
      <a:accent5>
        <a:srgbClr val="E5AAAE"/>
      </a:accent5>
      <a:accent6>
        <a:srgbClr val="CFAF83"/>
      </a:accent6>
      <a:hlink>
        <a:srgbClr val="9F2D20"/>
      </a:hlink>
      <a:folHlink>
        <a:srgbClr val="FBE181"/>
      </a:folHlink>
    </a:clrScheme>
    <a:fontScheme name="5 white background logo top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5 white background logo top 1">
        <a:dk1>
          <a:srgbClr val="000000"/>
        </a:dk1>
        <a:lt1>
          <a:srgbClr val="FFFFFF"/>
        </a:lt1>
        <a:dk2>
          <a:srgbClr val="000000"/>
        </a:dk2>
        <a:lt2>
          <a:srgbClr val="247D9C"/>
        </a:lt2>
        <a:accent1>
          <a:srgbClr val="D21034"/>
        </a:accent1>
        <a:accent2>
          <a:srgbClr val="E4C191"/>
        </a:accent2>
        <a:accent3>
          <a:srgbClr val="FFFFFF"/>
        </a:accent3>
        <a:accent4>
          <a:srgbClr val="000000"/>
        </a:accent4>
        <a:accent5>
          <a:srgbClr val="E5AAAE"/>
        </a:accent5>
        <a:accent6>
          <a:srgbClr val="CFAF83"/>
        </a:accent6>
        <a:hlink>
          <a:srgbClr val="9F2D20"/>
        </a:hlink>
        <a:folHlink>
          <a:srgbClr val="FBE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12_5 white background logo top">
  <a:themeElements>
    <a:clrScheme name="5 white background logo top 1">
      <a:dk1>
        <a:srgbClr val="000000"/>
      </a:dk1>
      <a:lt1>
        <a:srgbClr val="FFFFFF"/>
      </a:lt1>
      <a:dk2>
        <a:srgbClr val="000000"/>
      </a:dk2>
      <a:lt2>
        <a:srgbClr val="247D9C"/>
      </a:lt2>
      <a:accent1>
        <a:srgbClr val="D21034"/>
      </a:accent1>
      <a:accent2>
        <a:srgbClr val="E4C191"/>
      </a:accent2>
      <a:accent3>
        <a:srgbClr val="FFFFFF"/>
      </a:accent3>
      <a:accent4>
        <a:srgbClr val="000000"/>
      </a:accent4>
      <a:accent5>
        <a:srgbClr val="E5AAAE"/>
      </a:accent5>
      <a:accent6>
        <a:srgbClr val="CFAF83"/>
      </a:accent6>
      <a:hlink>
        <a:srgbClr val="9F2D20"/>
      </a:hlink>
      <a:folHlink>
        <a:srgbClr val="FBE181"/>
      </a:folHlink>
    </a:clrScheme>
    <a:fontScheme name="5 white background logo top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5 white background logo top 1">
        <a:dk1>
          <a:srgbClr val="000000"/>
        </a:dk1>
        <a:lt1>
          <a:srgbClr val="FFFFFF"/>
        </a:lt1>
        <a:dk2>
          <a:srgbClr val="000000"/>
        </a:dk2>
        <a:lt2>
          <a:srgbClr val="247D9C"/>
        </a:lt2>
        <a:accent1>
          <a:srgbClr val="D21034"/>
        </a:accent1>
        <a:accent2>
          <a:srgbClr val="E4C191"/>
        </a:accent2>
        <a:accent3>
          <a:srgbClr val="FFFFFF"/>
        </a:accent3>
        <a:accent4>
          <a:srgbClr val="000000"/>
        </a:accent4>
        <a:accent5>
          <a:srgbClr val="E5AAAE"/>
        </a:accent5>
        <a:accent6>
          <a:srgbClr val="CFAF83"/>
        </a:accent6>
        <a:hlink>
          <a:srgbClr val="9F2D20"/>
        </a:hlink>
        <a:folHlink>
          <a:srgbClr val="FBE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13_5 white background logo top">
  <a:themeElements>
    <a:clrScheme name="5 white background logo top 1">
      <a:dk1>
        <a:srgbClr val="000000"/>
      </a:dk1>
      <a:lt1>
        <a:srgbClr val="FFFFFF"/>
      </a:lt1>
      <a:dk2>
        <a:srgbClr val="000000"/>
      </a:dk2>
      <a:lt2>
        <a:srgbClr val="247D9C"/>
      </a:lt2>
      <a:accent1>
        <a:srgbClr val="D21034"/>
      </a:accent1>
      <a:accent2>
        <a:srgbClr val="E4C191"/>
      </a:accent2>
      <a:accent3>
        <a:srgbClr val="FFFFFF"/>
      </a:accent3>
      <a:accent4>
        <a:srgbClr val="000000"/>
      </a:accent4>
      <a:accent5>
        <a:srgbClr val="E5AAAE"/>
      </a:accent5>
      <a:accent6>
        <a:srgbClr val="CFAF83"/>
      </a:accent6>
      <a:hlink>
        <a:srgbClr val="9F2D20"/>
      </a:hlink>
      <a:folHlink>
        <a:srgbClr val="FBE181"/>
      </a:folHlink>
    </a:clrScheme>
    <a:fontScheme name="5 white background logo top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5 white background logo top 1">
        <a:dk1>
          <a:srgbClr val="000000"/>
        </a:dk1>
        <a:lt1>
          <a:srgbClr val="FFFFFF"/>
        </a:lt1>
        <a:dk2>
          <a:srgbClr val="000000"/>
        </a:dk2>
        <a:lt2>
          <a:srgbClr val="247D9C"/>
        </a:lt2>
        <a:accent1>
          <a:srgbClr val="D21034"/>
        </a:accent1>
        <a:accent2>
          <a:srgbClr val="E4C191"/>
        </a:accent2>
        <a:accent3>
          <a:srgbClr val="FFFFFF"/>
        </a:accent3>
        <a:accent4>
          <a:srgbClr val="000000"/>
        </a:accent4>
        <a:accent5>
          <a:srgbClr val="E5AAAE"/>
        </a:accent5>
        <a:accent6>
          <a:srgbClr val="CFAF83"/>
        </a:accent6>
        <a:hlink>
          <a:srgbClr val="9F2D20"/>
        </a:hlink>
        <a:folHlink>
          <a:srgbClr val="FBE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1_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Blank Presentatio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2225" cap="flat" cmpd="sng" algn="ctr">
          <a:solidFill>
            <a:srgbClr val="000000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2225" cap="flat" cmpd="sng" algn="ctr">
          <a:solidFill>
            <a:srgbClr val="000000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Blank Presentatio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2225" cap="flat" cmpd="sng" algn="ctr">
          <a:solidFill>
            <a:srgbClr val="000000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2225" cap="flat" cmpd="sng" algn="ctr">
          <a:solidFill>
            <a:srgbClr val="000000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2_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Blank Presentatio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2225" cap="flat" cmpd="sng" algn="ctr">
          <a:solidFill>
            <a:srgbClr val="000000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2225" cap="flat" cmpd="sng" algn="ctr">
          <a:solidFill>
            <a:srgbClr val="000000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8_OSD PSAT Template_v3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3_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Blank Presentatio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2225" cap="flat" cmpd="sng" algn="ctr">
          <a:solidFill>
            <a:srgbClr val="000000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2225" cap="flat" cmpd="sng" algn="ctr">
          <a:solidFill>
            <a:srgbClr val="000000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4.xml><?xml version="1.0" encoding="utf-8"?>
<a:theme xmlns:a="http://schemas.openxmlformats.org/drawingml/2006/main" name="14_5 white background logo top">
  <a:themeElements>
    <a:clrScheme name="5 white background logo top 1">
      <a:dk1>
        <a:srgbClr val="000000"/>
      </a:dk1>
      <a:lt1>
        <a:srgbClr val="FFFFFF"/>
      </a:lt1>
      <a:dk2>
        <a:srgbClr val="000000"/>
      </a:dk2>
      <a:lt2>
        <a:srgbClr val="247D9C"/>
      </a:lt2>
      <a:accent1>
        <a:srgbClr val="D21034"/>
      </a:accent1>
      <a:accent2>
        <a:srgbClr val="E4C191"/>
      </a:accent2>
      <a:accent3>
        <a:srgbClr val="FFFFFF"/>
      </a:accent3>
      <a:accent4>
        <a:srgbClr val="000000"/>
      </a:accent4>
      <a:accent5>
        <a:srgbClr val="E5AAAE"/>
      </a:accent5>
      <a:accent6>
        <a:srgbClr val="CFAF83"/>
      </a:accent6>
      <a:hlink>
        <a:srgbClr val="9F2D20"/>
      </a:hlink>
      <a:folHlink>
        <a:srgbClr val="FBE181"/>
      </a:folHlink>
    </a:clrScheme>
    <a:fontScheme name="5 white background logo top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5 white background logo top 1">
        <a:dk1>
          <a:srgbClr val="000000"/>
        </a:dk1>
        <a:lt1>
          <a:srgbClr val="FFFFFF"/>
        </a:lt1>
        <a:dk2>
          <a:srgbClr val="000000"/>
        </a:dk2>
        <a:lt2>
          <a:srgbClr val="247D9C"/>
        </a:lt2>
        <a:accent1>
          <a:srgbClr val="D21034"/>
        </a:accent1>
        <a:accent2>
          <a:srgbClr val="E4C191"/>
        </a:accent2>
        <a:accent3>
          <a:srgbClr val="FFFFFF"/>
        </a:accent3>
        <a:accent4>
          <a:srgbClr val="000000"/>
        </a:accent4>
        <a:accent5>
          <a:srgbClr val="E5AAAE"/>
        </a:accent5>
        <a:accent6>
          <a:srgbClr val="CFAF83"/>
        </a:accent6>
        <a:hlink>
          <a:srgbClr val="9F2D20"/>
        </a:hlink>
        <a:folHlink>
          <a:srgbClr val="FBE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5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6.xml><?xml version="1.0" encoding="utf-8"?>
<a:theme xmlns:a="http://schemas.openxmlformats.org/drawingml/2006/main" name="15_5 white background logo top">
  <a:themeElements>
    <a:clrScheme name="5 white background logo top 1">
      <a:dk1>
        <a:srgbClr val="000000"/>
      </a:dk1>
      <a:lt1>
        <a:srgbClr val="FFFFFF"/>
      </a:lt1>
      <a:dk2>
        <a:srgbClr val="000000"/>
      </a:dk2>
      <a:lt2>
        <a:srgbClr val="247D9C"/>
      </a:lt2>
      <a:accent1>
        <a:srgbClr val="D21034"/>
      </a:accent1>
      <a:accent2>
        <a:srgbClr val="E4C191"/>
      </a:accent2>
      <a:accent3>
        <a:srgbClr val="FFFFFF"/>
      </a:accent3>
      <a:accent4>
        <a:srgbClr val="000000"/>
      </a:accent4>
      <a:accent5>
        <a:srgbClr val="E5AAAE"/>
      </a:accent5>
      <a:accent6>
        <a:srgbClr val="CFAF83"/>
      </a:accent6>
      <a:hlink>
        <a:srgbClr val="9F2D20"/>
      </a:hlink>
      <a:folHlink>
        <a:srgbClr val="FBE181"/>
      </a:folHlink>
    </a:clrScheme>
    <a:fontScheme name="5 white background logo top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5 white background logo top 1">
        <a:dk1>
          <a:srgbClr val="000000"/>
        </a:dk1>
        <a:lt1>
          <a:srgbClr val="FFFFFF"/>
        </a:lt1>
        <a:dk2>
          <a:srgbClr val="000000"/>
        </a:dk2>
        <a:lt2>
          <a:srgbClr val="247D9C"/>
        </a:lt2>
        <a:accent1>
          <a:srgbClr val="D21034"/>
        </a:accent1>
        <a:accent2>
          <a:srgbClr val="E4C191"/>
        </a:accent2>
        <a:accent3>
          <a:srgbClr val="FFFFFF"/>
        </a:accent3>
        <a:accent4>
          <a:srgbClr val="000000"/>
        </a:accent4>
        <a:accent5>
          <a:srgbClr val="E5AAAE"/>
        </a:accent5>
        <a:accent6>
          <a:srgbClr val="CFAF83"/>
        </a:accent6>
        <a:hlink>
          <a:srgbClr val="9F2D20"/>
        </a:hlink>
        <a:folHlink>
          <a:srgbClr val="FBE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16_5 white background logo top">
  <a:themeElements>
    <a:clrScheme name="5 white background logo top 1">
      <a:dk1>
        <a:srgbClr val="000000"/>
      </a:dk1>
      <a:lt1>
        <a:srgbClr val="FFFFFF"/>
      </a:lt1>
      <a:dk2>
        <a:srgbClr val="000000"/>
      </a:dk2>
      <a:lt2>
        <a:srgbClr val="247D9C"/>
      </a:lt2>
      <a:accent1>
        <a:srgbClr val="D21034"/>
      </a:accent1>
      <a:accent2>
        <a:srgbClr val="E4C191"/>
      </a:accent2>
      <a:accent3>
        <a:srgbClr val="FFFFFF"/>
      </a:accent3>
      <a:accent4>
        <a:srgbClr val="000000"/>
      </a:accent4>
      <a:accent5>
        <a:srgbClr val="E5AAAE"/>
      </a:accent5>
      <a:accent6>
        <a:srgbClr val="CFAF83"/>
      </a:accent6>
      <a:hlink>
        <a:srgbClr val="9F2D20"/>
      </a:hlink>
      <a:folHlink>
        <a:srgbClr val="FBE181"/>
      </a:folHlink>
    </a:clrScheme>
    <a:fontScheme name="5 white background logo top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5 white background logo top 1">
        <a:dk1>
          <a:srgbClr val="000000"/>
        </a:dk1>
        <a:lt1>
          <a:srgbClr val="FFFFFF"/>
        </a:lt1>
        <a:dk2>
          <a:srgbClr val="000000"/>
        </a:dk2>
        <a:lt2>
          <a:srgbClr val="247D9C"/>
        </a:lt2>
        <a:accent1>
          <a:srgbClr val="D21034"/>
        </a:accent1>
        <a:accent2>
          <a:srgbClr val="E4C191"/>
        </a:accent2>
        <a:accent3>
          <a:srgbClr val="FFFFFF"/>
        </a:accent3>
        <a:accent4>
          <a:srgbClr val="000000"/>
        </a:accent4>
        <a:accent5>
          <a:srgbClr val="E5AAAE"/>
        </a:accent5>
        <a:accent6>
          <a:srgbClr val="CFAF83"/>
        </a:accent6>
        <a:hlink>
          <a:srgbClr val="9F2D20"/>
        </a:hlink>
        <a:folHlink>
          <a:srgbClr val="FBE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8.xml><?xml version="1.0" encoding="utf-8"?>
<a:theme xmlns:a="http://schemas.openxmlformats.org/drawingml/2006/main" name="17_5 white background logo top">
  <a:themeElements>
    <a:clrScheme name="5 white background logo top 1">
      <a:dk1>
        <a:srgbClr val="000000"/>
      </a:dk1>
      <a:lt1>
        <a:srgbClr val="FFFFFF"/>
      </a:lt1>
      <a:dk2>
        <a:srgbClr val="000000"/>
      </a:dk2>
      <a:lt2>
        <a:srgbClr val="247D9C"/>
      </a:lt2>
      <a:accent1>
        <a:srgbClr val="D21034"/>
      </a:accent1>
      <a:accent2>
        <a:srgbClr val="E4C191"/>
      </a:accent2>
      <a:accent3>
        <a:srgbClr val="FFFFFF"/>
      </a:accent3>
      <a:accent4>
        <a:srgbClr val="000000"/>
      </a:accent4>
      <a:accent5>
        <a:srgbClr val="E5AAAE"/>
      </a:accent5>
      <a:accent6>
        <a:srgbClr val="CFAF83"/>
      </a:accent6>
      <a:hlink>
        <a:srgbClr val="9F2D20"/>
      </a:hlink>
      <a:folHlink>
        <a:srgbClr val="FBE181"/>
      </a:folHlink>
    </a:clrScheme>
    <a:fontScheme name="5 white background logo top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5 white background logo top 1">
        <a:dk1>
          <a:srgbClr val="000000"/>
        </a:dk1>
        <a:lt1>
          <a:srgbClr val="FFFFFF"/>
        </a:lt1>
        <a:dk2>
          <a:srgbClr val="000000"/>
        </a:dk2>
        <a:lt2>
          <a:srgbClr val="247D9C"/>
        </a:lt2>
        <a:accent1>
          <a:srgbClr val="D21034"/>
        </a:accent1>
        <a:accent2>
          <a:srgbClr val="E4C191"/>
        </a:accent2>
        <a:accent3>
          <a:srgbClr val="FFFFFF"/>
        </a:accent3>
        <a:accent4>
          <a:srgbClr val="000000"/>
        </a:accent4>
        <a:accent5>
          <a:srgbClr val="E5AAAE"/>
        </a:accent5>
        <a:accent6>
          <a:srgbClr val="CFAF83"/>
        </a:accent6>
        <a:hlink>
          <a:srgbClr val="9F2D20"/>
        </a:hlink>
        <a:folHlink>
          <a:srgbClr val="FBE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9.xml><?xml version="1.0" encoding="utf-8"?>
<a:theme xmlns:a="http://schemas.openxmlformats.org/drawingml/2006/main" name="9_OSD PSAT Template_v3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5 white background logo top">
  <a:themeElements>
    <a:clrScheme name="5 white background logo top 1">
      <a:dk1>
        <a:srgbClr val="000000"/>
      </a:dk1>
      <a:lt1>
        <a:srgbClr val="FFFFFF"/>
      </a:lt1>
      <a:dk2>
        <a:srgbClr val="000000"/>
      </a:dk2>
      <a:lt2>
        <a:srgbClr val="247D9C"/>
      </a:lt2>
      <a:accent1>
        <a:srgbClr val="D21034"/>
      </a:accent1>
      <a:accent2>
        <a:srgbClr val="E4C191"/>
      </a:accent2>
      <a:accent3>
        <a:srgbClr val="FFFFFF"/>
      </a:accent3>
      <a:accent4>
        <a:srgbClr val="000000"/>
      </a:accent4>
      <a:accent5>
        <a:srgbClr val="E5AAAE"/>
      </a:accent5>
      <a:accent6>
        <a:srgbClr val="CFAF83"/>
      </a:accent6>
      <a:hlink>
        <a:srgbClr val="9F2D20"/>
      </a:hlink>
      <a:folHlink>
        <a:srgbClr val="FBE181"/>
      </a:folHlink>
    </a:clrScheme>
    <a:fontScheme name="5 white background logo top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9999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5 white background logo top 1">
        <a:dk1>
          <a:srgbClr val="000000"/>
        </a:dk1>
        <a:lt1>
          <a:srgbClr val="FFFFFF"/>
        </a:lt1>
        <a:dk2>
          <a:srgbClr val="000000"/>
        </a:dk2>
        <a:lt2>
          <a:srgbClr val="247D9C"/>
        </a:lt2>
        <a:accent1>
          <a:srgbClr val="D21034"/>
        </a:accent1>
        <a:accent2>
          <a:srgbClr val="E4C191"/>
        </a:accent2>
        <a:accent3>
          <a:srgbClr val="FFFFFF"/>
        </a:accent3>
        <a:accent4>
          <a:srgbClr val="000000"/>
        </a:accent4>
        <a:accent5>
          <a:srgbClr val="E5AAAE"/>
        </a:accent5>
        <a:accent6>
          <a:srgbClr val="CFAF83"/>
        </a:accent6>
        <a:hlink>
          <a:srgbClr val="9F2D20"/>
        </a:hlink>
        <a:folHlink>
          <a:srgbClr val="FBE18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4_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Blank Presentatio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2225" cap="flat" cmpd="sng" algn="ctr">
          <a:solidFill>
            <a:srgbClr val="000000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2225" cap="flat" cmpd="sng" algn="ctr">
          <a:solidFill>
            <a:srgbClr val="000000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FlatSurface Font">
      <a:majorFont>
        <a:latin typeface="Futura Light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2.xml><?xml version="1.0" encoding="utf-8"?>
<a:theme xmlns:a="http://schemas.openxmlformats.org/drawingml/2006/main" name="1_Peppermin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3.xml><?xml version="1.0" encoding="utf-8"?>
<a:theme xmlns:a="http://schemas.openxmlformats.org/drawingml/2006/main" name="10_OSD PSAT Template_v3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5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FlatSurface Font">
      <a:majorFont>
        <a:latin typeface="Futura Light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7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OSD PSAT Template_v3">
  <a:themeElements>
    <a:clrScheme name="OSD PSAT Template_v3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SD PSAT Template_v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1200"/>
          </a:spcBef>
          <a:spcAft>
            <a:spcPct val="0"/>
          </a:spcAft>
          <a:buClr>
            <a:srgbClr val="336699"/>
          </a:buClr>
          <a:buSzTx/>
          <a:buFont typeface="Arial" charset="0"/>
          <a:buChar char="•"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1200"/>
          </a:spcBef>
          <a:spcAft>
            <a:spcPct val="0"/>
          </a:spcAft>
          <a:buClr>
            <a:srgbClr val="336699"/>
          </a:buClr>
          <a:buSzTx/>
          <a:buFont typeface="Arial" charset="0"/>
          <a:buChar char="•"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SD PSAT Template_v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SD PSAT Template_v3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SD PSAT Template_v3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SD PSAT Template_v3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SD PSAT Template_v3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SD PSAT Template_v3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SD PSAT Template_v3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SD PSAT Template_v3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SD PSAT Template_v3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SD PSAT Template_v3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SD PSAT Template_v3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SD PSAT Template_v3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SD PSAT Template_v3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_OSD PSAT Template_v3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OSD PSAT Template_v3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blank">
  <a:themeElements>
    <a:clrScheme name="PRTM">
      <a:dk1>
        <a:srgbClr val="333333"/>
      </a:dk1>
      <a:lt1>
        <a:srgbClr val="FFFFFF"/>
      </a:lt1>
      <a:dk2>
        <a:srgbClr val="5B7893"/>
      </a:dk2>
      <a:lt2>
        <a:srgbClr val="CCCCCC"/>
      </a:lt2>
      <a:accent1>
        <a:srgbClr val="ADBBC9"/>
      </a:accent1>
      <a:accent2>
        <a:srgbClr val="A7B05B"/>
      </a:accent2>
      <a:accent3>
        <a:srgbClr val="CC6600"/>
      </a:accent3>
      <a:accent4>
        <a:srgbClr val="F1D100"/>
      </a:accent4>
      <a:accent5>
        <a:srgbClr val="CC3300"/>
      </a:accent5>
      <a:accent6>
        <a:srgbClr val="BFBBB0"/>
      </a:accent6>
      <a:hlink>
        <a:srgbClr val="CC3300"/>
      </a:hlink>
      <a:folHlink>
        <a:srgbClr val="F1D1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5B7893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rgbClr val="333333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5B7893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rgbClr val="333333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lnDef>
  </a:objectDefaults>
  <a:extraClrSchemeLst>
    <a:extraClrScheme>
      <a:clrScheme name="WW_RPT_template 1">
        <a:dk1>
          <a:srgbClr val="333333"/>
        </a:dk1>
        <a:lt1>
          <a:srgbClr val="FFFFFF"/>
        </a:lt1>
        <a:dk2>
          <a:srgbClr val="5B7893"/>
        </a:dk2>
        <a:lt2>
          <a:srgbClr val="CCCCCC"/>
        </a:lt2>
        <a:accent1>
          <a:srgbClr val="ADBBC9"/>
        </a:accent1>
        <a:accent2>
          <a:srgbClr val="CC6600"/>
        </a:accent2>
        <a:accent3>
          <a:srgbClr val="FFFFFF"/>
        </a:accent3>
        <a:accent4>
          <a:srgbClr val="2A2A2A"/>
        </a:accent4>
        <a:accent5>
          <a:srgbClr val="D3DAE1"/>
        </a:accent5>
        <a:accent6>
          <a:srgbClr val="B95C00"/>
        </a:accent6>
        <a:hlink>
          <a:srgbClr val="CC3300"/>
        </a:hlink>
        <a:folHlink>
          <a:srgbClr val="F1D1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951</TotalTime>
  <Words>2270</Words>
  <Application>Microsoft Office PowerPoint</Application>
  <PresentationFormat>Letter Paper (8.5x11 in)</PresentationFormat>
  <Paragraphs>518</Paragraphs>
  <Slides>13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13</vt:i4>
      </vt:variant>
      <vt:variant>
        <vt:lpstr>Theme</vt:lpstr>
      </vt:variant>
      <vt:variant>
        <vt:i4>47</vt:i4>
      </vt:variant>
      <vt:variant>
        <vt:lpstr>Slide Titles</vt:lpstr>
      </vt:variant>
      <vt:variant>
        <vt:i4>13</vt:i4>
      </vt:variant>
    </vt:vector>
  </HeadingPairs>
  <TitlesOfParts>
    <vt:vector size="73" baseType="lpstr">
      <vt:lpstr>ＭＳ Ｐゴシック</vt:lpstr>
      <vt:lpstr>Arial</vt:lpstr>
      <vt:lpstr>Arial Narrow</vt:lpstr>
      <vt:lpstr>Arial Unicode MS</vt:lpstr>
      <vt:lpstr>Calibri</vt:lpstr>
      <vt:lpstr>Century Schoolbook</vt:lpstr>
      <vt:lpstr>Futura Light</vt:lpstr>
      <vt:lpstr>Futura Medium</vt:lpstr>
      <vt:lpstr>Symbol</vt:lpstr>
      <vt:lpstr>Times</vt:lpstr>
      <vt:lpstr>Times New Roman</vt:lpstr>
      <vt:lpstr>Verdana</vt:lpstr>
      <vt:lpstr>Wingdings</vt:lpstr>
      <vt:lpstr>5 white background logo top</vt:lpstr>
      <vt:lpstr>Custom Design</vt:lpstr>
      <vt:lpstr>Blank Presentation</vt:lpstr>
      <vt:lpstr>1_5 white background logo top</vt:lpstr>
      <vt:lpstr>2_OSD PSAT Template_v3</vt:lpstr>
      <vt:lpstr>OSD PSAT Template_v3</vt:lpstr>
      <vt:lpstr>1_OSD PSAT Template_v3</vt:lpstr>
      <vt:lpstr>3_OSD PSAT Template_v3</vt:lpstr>
      <vt:lpstr>blank</vt:lpstr>
      <vt:lpstr>2_5 white background logo top</vt:lpstr>
      <vt:lpstr>3_5 white background logo top</vt:lpstr>
      <vt:lpstr>4_5 white background logo top</vt:lpstr>
      <vt:lpstr>4_OSD PSAT Template_v3</vt:lpstr>
      <vt:lpstr>5_OSD PSAT Template_v3</vt:lpstr>
      <vt:lpstr>6_OSD PSAT Template_v3</vt:lpstr>
      <vt:lpstr>5_5 white background logo top</vt:lpstr>
      <vt:lpstr>8_5 white background logo top</vt:lpstr>
      <vt:lpstr>7_OSD PSAT Template_v3</vt:lpstr>
      <vt:lpstr>6_5 white background logo top</vt:lpstr>
      <vt:lpstr>7_5 white background logo top</vt:lpstr>
      <vt:lpstr>9_5 white background logo top</vt:lpstr>
      <vt:lpstr>10_5 white background logo top</vt:lpstr>
      <vt:lpstr>1_Custom Design</vt:lpstr>
      <vt:lpstr>AF Briefing Format</vt:lpstr>
      <vt:lpstr>11_5 white background logo top</vt:lpstr>
      <vt:lpstr>12_5 white background logo top</vt:lpstr>
      <vt:lpstr>13_5 white background logo top</vt:lpstr>
      <vt:lpstr>2_Custom Design</vt:lpstr>
      <vt:lpstr>1_Blank Presentation</vt:lpstr>
      <vt:lpstr>2_Blank Presentation</vt:lpstr>
      <vt:lpstr>8_OSD PSAT Template_v3</vt:lpstr>
      <vt:lpstr>3_Blank Presentation</vt:lpstr>
      <vt:lpstr>3_Custom Design</vt:lpstr>
      <vt:lpstr>14_5 white background logo top</vt:lpstr>
      <vt:lpstr>4_Custom Design</vt:lpstr>
      <vt:lpstr>15_5 white background logo top</vt:lpstr>
      <vt:lpstr>16_5 white background logo top</vt:lpstr>
      <vt:lpstr>17_5 white background logo top</vt:lpstr>
      <vt:lpstr>9_OSD PSAT Template_v3</vt:lpstr>
      <vt:lpstr>4_Blank Presentation</vt:lpstr>
      <vt:lpstr>1_Office Theme</vt:lpstr>
      <vt:lpstr>1_Peppermint</vt:lpstr>
      <vt:lpstr>10_OSD PSAT Template_v3</vt:lpstr>
      <vt:lpstr>3_Office Theme</vt:lpstr>
      <vt:lpstr>5_Custom Design</vt:lpstr>
      <vt:lpstr>Office Theme</vt:lpstr>
      <vt:lpstr>6_Custom Design</vt:lpstr>
      <vt:lpstr>Joint Technology Exchange Group (JTEG) Forum: How the Acquisition Workforce is Being Trained on Supporting Sustainment </vt:lpstr>
      <vt:lpstr>PowerPoint Presentation</vt:lpstr>
      <vt:lpstr>PowerPoint Presentation</vt:lpstr>
      <vt:lpstr>Integrated Suite of Product Support Focused Learning Assets &amp; Related Resources</vt:lpstr>
      <vt:lpstr>PowerPoint Presentation</vt:lpstr>
      <vt:lpstr>40 Logistics Continuous Learning Modules</vt:lpstr>
      <vt:lpstr>Nearly 90 Interdisciplinary Product Support-  Focused Continuous Learning Modules</vt:lpstr>
      <vt:lpstr>PowerPoint Presentation</vt:lpstr>
      <vt:lpstr>Logistics Functional Area Gateway</vt:lpstr>
      <vt:lpstr>PowerPoint Presentation</vt:lpstr>
      <vt:lpstr>PowerPoint Presentation</vt:lpstr>
      <vt:lpstr>Product Support Statutory Framework (See “Product Support Statutes” ACQuipedia Article for additional details at https://www.dau.mil/acquipedia/Pages/ArticleDetails.aspx?aid=e66a7450-cd0d-48e6-b662-318df2978b35) </vt:lpstr>
      <vt:lpstr>DAU Additive Manufacturing (3D Printing) Learning Assets</vt:lpstr>
    </vt:vector>
  </TitlesOfParts>
  <Company>personal cop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 Slide Title</dc:title>
  <dc:creator>Chris St.John</dc:creator>
  <cp:lastModifiedBy>LANGLAIS, Raymond R.</cp:lastModifiedBy>
  <cp:revision>1329</cp:revision>
  <cp:lastPrinted>2016-10-03T13:12:58Z</cp:lastPrinted>
  <dcterms:created xsi:type="dcterms:W3CDTF">2001-07-25T23:11:32Z</dcterms:created>
  <dcterms:modified xsi:type="dcterms:W3CDTF">2019-05-24T17:06:19Z</dcterms:modified>
</cp:coreProperties>
</file>